
<file path=[Content_Types].xml><?xml version="1.0" encoding="utf-8"?>
<Types xmlns="http://schemas.openxmlformats.org/package/2006/content-types">
  <Default Extension="fntdata" ContentType="application/x-fontdata"/>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0" r:id="rId1"/>
  </p:sldMasterIdLst>
  <p:notesMasterIdLst>
    <p:notesMasterId r:id="rId20"/>
  </p:notesMasterIdLst>
  <p:sldIdLst>
    <p:sldId id="256" r:id="rId2"/>
    <p:sldId id="297" r:id="rId3"/>
    <p:sldId id="285" r:id="rId4"/>
    <p:sldId id="298" r:id="rId5"/>
    <p:sldId id="299" r:id="rId6"/>
    <p:sldId id="300" r:id="rId7"/>
    <p:sldId id="301" r:id="rId8"/>
    <p:sldId id="302" r:id="rId9"/>
    <p:sldId id="303" r:id="rId10"/>
    <p:sldId id="309" r:id="rId11"/>
    <p:sldId id="305" r:id="rId12"/>
    <p:sldId id="306" r:id="rId13"/>
    <p:sldId id="288" r:id="rId14"/>
    <p:sldId id="278" r:id="rId15"/>
    <p:sldId id="281" r:id="rId16"/>
    <p:sldId id="307" r:id="rId17"/>
    <p:sldId id="308" r:id="rId18"/>
    <p:sldId id="304" r:id="rId19"/>
  </p:sldIdLst>
  <p:sldSz cx="9144000" cy="5143500" type="screen16x9"/>
  <p:notesSz cx="6858000" cy="9144000"/>
  <p:embeddedFontLst>
    <p:embeddedFont>
      <p:font typeface="Abel" panose="020B0604020202020204" charset="0"/>
      <p:regular r:id="rId21"/>
    </p:embeddedFont>
    <p:embeddedFont>
      <p:font typeface="Calibri" panose="020F0502020204030204" pitchFamily="34" charset="0"/>
      <p:regular r:id="rId22"/>
      <p:bold r:id="rId23"/>
      <p:italic r:id="rId24"/>
      <p:boldItalic r:id="rId25"/>
    </p:embeddedFont>
    <p:embeddedFont>
      <p:font typeface="Encode Sans Semi Condensed" panose="020B0604020202020204" charset="0"/>
      <p:regular r:id="rId26"/>
      <p:bold r:id="rId27"/>
    </p:embeddedFont>
    <p:embeddedFont>
      <p:font typeface="Encode Sans Semi Condensed Light" panose="020B0604020202020204" charset="0"/>
      <p:regular r:id="rId28"/>
      <p:bold r:id="rId2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BD0F"/>
    <a:srgbClr val="DC84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0D8DBFD-9A2B-482A-A443-754404407EF8}">
  <a:tblStyle styleId="{E0D8DBFD-9A2B-482A-A443-754404407EF8}"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CB57346-DEF9-49EB-BBFD-8B5FC17ECAB0}"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85" autoAdjust="0"/>
    <p:restoredTop sz="95602" autoAdjust="0"/>
  </p:normalViewPr>
  <p:slideViewPr>
    <p:cSldViewPr snapToGrid="0">
      <p:cViewPr varScale="1">
        <p:scale>
          <a:sx n="126" d="100"/>
          <a:sy n="126" d="100"/>
        </p:scale>
        <p:origin x="32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6.fntdata"/><Relationship Id="rId3" Type="http://schemas.openxmlformats.org/officeDocument/2006/relationships/slide" Target="slides/slide2.xml"/><Relationship Id="rId21" Type="http://schemas.openxmlformats.org/officeDocument/2006/relationships/font" Target="fonts/font1.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5.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4.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87ADC9-5D5E-4E1F-929B-48DE5CD7E790}"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en-CA"/>
        </a:p>
      </dgm:t>
    </dgm:pt>
    <dgm:pt modelId="{A86E3577-876C-41DB-AA7A-DB18A3A26CB3}">
      <dgm:prSet phldrT="[Text]" custT="1"/>
      <dgm:spPr/>
      <dgm:t>
        <a:bodyPr/>
        <a:lstStyle/>
        <a:p>
          <a:r>
            <a:rPr lang="en-CA" sz="2400" dirty="0">
              <a:solidFill>
                <a:schemeClr val="bg1"/>
              </a:solidFill>
              <a:latin typeface="Abel" panose="020B0604020202020204" charset="0"/>
            </a:rPr>
            <a:t>Modeling </a:t>
          </a:r>
        </a:p>
      </dgm:t>
    </dgm:pt>
    <dgm:pt modelId="{E680A2CF-E8FC-4F01-B9C4-D8FC2D0B6730}" type="parTrans" cxnId="{D9DA0BDD-1596-4E97-BF57-30E54B552961}">
      <dgm:prSet/>
      <dgm:spPr/>
      <dgm:t>
        <a:bodyPr/>
        <a:lstStyle/>
        <a:p>
          <a:endParaRPr lang="en-CA" sz="2400">
            <a:latin typeface="Abel" panose="020B0604020202020204" charset="0"/>
          </a:endParaRPr>
        </a:p>
      </dgm:t>
    </dgm:pt>
    <dgm:pt modelId="{A93644B6-E91C-4173-8D3A-1BD8DD015A84}" type="sibTrans" cxnId="{D9DA0BDD-1596-4E97-BF57-30E54B552961}">
      <dgm:prSet/>
      <dgm:spPr/>
      <dgm:t>
        <a:bodyPr/>
        <a:lstStyle/>
        <a:p>
          <a:endParaRPr lang="en-CA" sz="2400">
            <a:latin typeface="Abel" panose="020B0604020202020204" charset="0"/>
          </a:endParaRPr>
        </a:p>
      </dgm:t>
    </dgm:pt>
    <dgm:pt modelId="{DE02D6E1-363F-4ED3-83F6-A8135DFCC34F}">
      <dgm:prSet phldrT="[Text]" custT="1"/>
      <dgm:spPr/>
      <dgm:t>
        <a:bodyPr/>
        <a:lstStyle/>
        <a:p>
          <a:r>
            <a:rPr lang="en-CA" sz="2400" dirty="0">
              <a:solidFill>
                <a:schemeClr val="bg1"/>
              </a:solidFill>
              <a:latin typeface="Abel" panose="020B0604020202020204" charset="0"/>
            </a:rPr>
            <a:t>Variable Selection</a:t>
          </a:r>
        </a:p>
      </dgm:t>
    </dgm:pt>
    <dgm:pt modelId="{13C2CAE7-E996-4CE7-AC90-24E160CD3901}" type="parTrans" cxnId="{251B5742-17B2-4DE7-A623-295DD758756B}">
      <dgm:prSet/>
      <dgm:spPr/>
      <dgm:t>
        <a:bodyPr/>
        <a:lstStyle/>
        <a:p>
          <a:endParaRPr lang="en-CA" sz="2400">
            <a:latin typeface="Abel" panose="020B0604020202020204" charset="0"/>
          </a:endParaRPr>
        </a:p>
      </dgm:t>
    </dgm:pt>
    <dgm:pt modelId="{0605A5CD-95E9-41DD-8ACE-E8FAB5B326DA}" type="sibTrans" cxnId="{251B5742-17B2-4DE7-A623-295DD758756B}">
      <dgm:prSet/>
      <dgm:spPr/>
      <dgm:t>
        <a:bodyPr/>
        <a:lstStyle/>
        <a:p>
          <a:endParaRPr lang="en-CA" sz="2400">
            <a:latin typeface="Abel" panose="020B0604020202020204" charset="0"/>
          </a:endParaRPr>
        </a:p>
      </dgm:t>
    </dgm:pt>
    <dgm:pt modelId="{F70D66DC-5819-43E2-A86E-100A3ACD4DBC}" type="pres">
      <dgm:prSet presAssocID="{3C87ADC9-5D5E-4E1F-929B-48DE5CD7E790}" presName="compositeShape" presStyleCnt="0">
        <dgm:presLayoutVars>
          <dgm:chMax val="2"/>
          <dgm:dir/>
          <dgm:resizeHandles val="exact"/>
        </dgm:presLayoutVars>
      </dgm:prSet>
      <dgm:spPr/>
    </dgm:pt>
    <dgm:pt modelId="{20A5195E-D4FD-499E-9F92-95A3DE6E4007}" type="pres">
      <dgm:prSet presAssocID="{3C87ADC9-5D5E-4E1F-929B-48DE5CD7E790}" presName="divider" presStyleLbl="fgShp" presStyleIdx="0" presStyleCnt="1"/>
      <dgm:spPr/>
    </dgm:pt>
    <dgm:pt modelId="{2369667D-5F8F-467A-9BAA-9E5DFDB2454E}" type="pres">
      <dgm:prSet presAssocID="{A86E3577-876C-41DB-AA7A-DB18A3A26CB3}" presName="downArrow" presStyleLbl="node1" presStyleIdx="0" presStyleCnt="2"/>
      <dgm:spPr/>
    </dgm:pt>
    <dgm:pt modelId="{07EDC222-9EC2-4C2A-B016-399E2B90ED0F}" type="pres">
      <dgm:prSet presAssocID="{A86E3577-876C-41DB-AA7A-DB18A3A26CB3}" presName="downArrowText" presStyleLbl="revTx" presStyleIdx="0" presStyleCnt="2" custScaleX="180481" custLinFactX="93267" custLinFactNeighborX="100000" custLinFactNeighborY="-41736">
        <dgm:presLayoutVars>
          <dgm:bulletEnabled val="1"/>
        </dgm:presLayoutVars>
      </dgm:prSet>
      <dgm:spPr/>
    </dgm:pt>
    <dgm:pt modelId="{DD95D16D-BA98-4942-BE72-9BA1CB6994C2}" type="pres">
      <dgm:prSet presAssocID="{DE02D6E1-363F-4ED3-83F6-A8135DFCC34F}" presName="upArrow" presStyleLbl="node1" presStyleIdx="1" presStyleCnt="2"/>
      <dgm:spPr>
        <a:solidFill>
          <a:schemeClr val="tx1">
            <a:lumMod val="25000"/>
            <a:lumOff val="75000"/>
          </a:schemeClr>
        </a:solidFill>
      </dgm:spPr>
    </dgm:pt>
    <dgm:pt modelId="{98A82E16-10E2-486B-9EFC-3A71A11F6C47}" type="pres">
      <dgm:prSet presAssocID="{DE02D6E1-363F-4ED3-83F6-A8135DFCC34F}" presName="upArrowText" presStyleLbl="revTx" presStyleIdx="1" presStyleCnt="2" custScaleX="202448">
        <dgm:presLayoutVars>
          <dgm:bulletEnabled val="1"/>
        </dgm:presLayoutVars>
      </dgm:prSet>
      <dgm:spPr/>
    </dgm:pt>
  </dgm:ptLst>
  <dgm:cxnLst>
    <dgm:cxn modelId="{CA6AA324-7065-4497-84FF-E2F42EC6352F}" type="presOf" srcId="{3C87ADC9-5D5E-4E1F-929B-48DE5CD7E790}" destId="{F70D66DC-5819-43E2-A86E-100A3ACD4DBC}" srcOrd="0" destOrd="0" presId="urn:microsoft.com/office/officeart/2005/8/layout/arrow3"/>
    <dgm:cxn modelId="{251B5742-17B2-4DE7-A623-295DD758756B}" srcId="{3C87ADC9-5D5E-4E1F-929B-48DE5CD7E790}" destId="{DE02D6E1-363F-4ED3-83F6-A8135DFCC34F}" srcOrd="1" destOrd="0" parTransId="{13C2CAE7-E996-4CE7-AC90-24E160CD3901}" sibTransId="{0605A5CD-95E9-41DD-8ACE-E8FAB5B326DA}"/>
    <dgm:cxn modelId="{A145A948-A086-4A5D-8512-D1F0EC1C34C9}" type="presOf" srcId="{A86E3577-876C-41DB-AA7A-DB18A3A26CB3}" destId="{07EDC222-9EC2-4C2A-B016-399E2B90ED0F}" srcOrd="0" destOrd="0" presId="urn:microsoft.com/office/officeart/2005/8/layout/arrow3"/>
    <dgm:cxn modelId="{414ABE7A-B6A9-4088-A3AF-C03575210889}" type="presOf" srcId="{DE02D6E1-363F-4ED3-83F6-A8135DFCC34F}" destId="{98A82E16-10E2-486B-9EFC-3A71A11F6C47}" srcOrd="0" destOrd="0" presId="urn:microsoft.com/office/officeart/2005/8/layout/arrow3"/>
    <dgm:cxn modelId="{D9DA0BDD-1596-4E97-BF57-30E54B552961}" srcId="{3C87ADC9-5D5E-4E1F-929B-48DE5CD7E790}" destId="{A86E3577-876C-41DB-AA7A-DB18A3A26CB3}" srcOrd="0" destOrd="0" parTransId="{E680A2CF-E8FC-4F01-B9C4-D8FC2D0B6730}" sibTransId="{A93644B6-E91C-4173-8D3A-1BD8DD015A84}"/>
    <dgm:cxn modelId="{12603E9C-7A1D-475C-9A49-6B55A00E862F}" type="presParOf" srcId="{F70D66DC-5819-43E2-A86E-100A3ACD4DBC}" destId="{20A5195E-D4FD-499E-9F92-95A3DE6E4007}" srcOrd="0" destOrd="0" presId="urn:microsoft.com/office/officeart/2005/8/layout/arrow3"/>
    <dgm:cxn modelId="{E9447ED5-988C-4D2F-ABDA-7C89C95E8C79}" type="presParOf" srcId="{F70D66DC-5819-43E2-A86E-100A3ACD4DBC}" destId="{2369667D-5F8F-467A-9BAA-9E5DFDB2454E}" srcOrd="1" destOrd="0" presId="urn:microsoft.com/office/officeart/2005/8/layout/arrow3"/>
    <dgm:cxn modelId="{2A37B1E6-295A-4193-801A-D24BABD04C0E}" type="presParOf" srcId="{F70D66DC-5819-43E2-A86E-100A3ACD4DBC}" destId="{07EDC222-9EC2-4C2A-B016-399E2B90ED0F}" srcOrd="2" destOrd="0" presId="urn:microsoft.com/office/officeart/2005/8/layout/arrow3"/>
    <dgm:cxn modelId="{686E68BC-A1DB-46F8-84A1-FBCA670BDFAC}" type="presParOf" srcId="{F70D66DC-5819-43E2-A86E-100A3ACD4DBC}" destId="{DD95D16D-BA98-4942-BE72-9BA1CB6994C2}" srcOrd="3" destOrd="0" presId="urn:microsoft.com/office/officeart/2005/8/layout/arrow3"/>
    <dgm:cxn modelId="{2868A9EE-06BE-4747-848E-E2A968586149}" type="presParOf" srcId="{F70D66DC-5819-43E2-A86E-100A3ACD4DBC}" destId="{98A82E16-10E2-486B-9EFC-3A71A11F6C47}" srcOrd="4" destOrd="0" presId="urn:microsoft.com/office/officeart/2005/8/layout/arrow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A5195E-D4FD-499E-9F92-95A3DE6E4007}">
      <dsp:nvSpPr>
        <dsp:cNvPr id="0" name=""/>
        <dsp:cNvSpPr/>
      </dsp:nvSpPr>
      <dsp:spPr>
        <a:xfrm rot="21300000">
          <a:off x="10012" y="818381"/>
          <a:ext cx="3242792" cy="371348"/>
        </a:xfrm>
        <a:prstGeom prst="mathMinus">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69667D-5F8F-467A-9BAA-9E5DFDB2454E}">
      <dsp:nvSpPr>
        <dsp:cNvPr id="0" name=""/>
        <dsp:cNvSpPr/>
      </dsp:nvSpPr>
      <dsp:spPr>
        <a:xfrm>
          <a:off x="391538" y="100405"/>
          <a:ext cx="978845" cy="803244"/>
        </a:xfrm>
        <a:prstGeom prst="down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EDC222-9EC2-4C2A-B016-399E2B90ED0F}">
      <dsp:nvSpPr>
        <dsp:cNvPr id="0" name=""/>
        <dsp:cNvSpPr/>
      </dsp:nvSpPr>
      <dsp:spPr>
        <a:xfrm>
          <a:off x="1378412" y="0"/>
          <a:ext cx="1884405" cy="843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CA" sz="2400" kern="1200" dirty="0">
              <a:solidFill>
                <a:schemeClr val="bg1"/>
              </a:solidFill>
              <a:latin typeface="Abel" panose="020B0604020202020204" charset="0"/>
            </a:rPr>
            <a:t>Modeling </a:t>
          </a:r>
        </a:p>
      </dsp:txBody>
      <dsp:txXfrm>
        <a:off x="1378412" y="0"/>
        <a:ext cx="1884405" cy="843407"/>
      </dsp:txXfrm>
    </dsp:sp>
    <dsp:sp modelId="{DD95D16D-BA98-4942-BE72-9BA1CB6994C2}">
      <dsp:nvSpPr>
        <dsp:cNvPr id="0" name=""/>
        <dsp:cNvSpPr/>
      </dsp:nvSpPr>
      <dsp:spPr>
        <a:xfrm>
          <a:off x="1892434" y="1104461"/>
          <a:ext cx="978845" cy="803244"/>
        </a:xfrm>
        <a:prstGeom prst="upArrow">
          <a:avLst/>
        </a:prstGeom>
        <a:solidFill>
          <a:schemeClr val="tx1">
            <a:lumMod val="25000"/>
            <a:lumOff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A82E16-10E2-486B-9EFC-3A71A11F6C47}">
      <dsp:nvSpPr>
        <dsp:cNvPr id="0" name=""/>
        <dsp:cNvSpPr/>
      </dsp:nvSpPr>
      <dsp:spPr>
        <a:xfrm>
          <a:off x="-45407" y="1164704"/>
          <a:ext cx="2113763" cy="843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CA" sz="2400" kern="1200" dirty="0">
              <a:solidFill>
                <a:schemeClr val="bg1"/>
              </a:solidFill>
              <a:latin typeface="Abel" panose="020B0604020202020204" charset="0"/>
            </a:rPr>
            <a:t>Variable Selection</a:t>
          </a:r>
        </a:p>
      </dsp:txBody>
      <dsp:txXfrm>
        <a:off x="-45407" y="1164704"/>
        <a:ext cx="2113763" cy="843407"/>
      </dsp:txXfrm>
    </dsp:sp>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 name="Google Shape;158;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en-CA" dirty="0"/>
              <a:t>These results are based on weather = temp and humidity</a:t>
            </a:r>
          </a:p>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en-CA" dirty="0"/>
              <a:t>The highlighted is our selected final model as other models are rejected due to no train and test, and individual cities model not good fit on test data</a:t>
            </a:r>
          </a:p>
        </p:txBody>
      </p:sp>
    </p:spTree>
    <p:extLst>
      <p:ext uri="{BB962C8B-B14F-4D97-AF65-F5344CB8AC3E}">
        <p14:creationId xmlns:p14="http://schemas.microsoft.com/office/powerpoint/2010/main" val="3480385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49601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7844170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0"/>
        <p:cNvGrpSpPr/>
        <p:nvPr/>
      </p:nvGrpSpPr>
      <p:grpSpPr>
        <a:xfrm>
          <a:off x="0" y="0"/>
          <a:ext cx="0" cy="0"/>
          <a:chOff x="0" y="0"/>
          <a:chExt cx="0" cy="0"/>
        </a:xfrm>
      </p:grpSpPr>
      <p:sp>
        <p:nvSpPr>
          <p:cNvPr id="641" name="Google Shape;641;gd774ca7e2f_1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2" name="Google Shape;642;gd774ca7e2f_1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7" name="Google Shape;437;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9"/>
        <p:cNvGrpSpPr/>
        <p:nvPr/>
      </p:nvGrpSpPr>
      <p:grpSpPr>
        <a:xfrm>
          <a:off x="0" y="0"/>
          <a:ext cx="0" cy="0"/>
          <a:chOff x="0" y="0"/>
          <a:chExt cx="0" cy="0"/>
        </a:xfrm>
      </p:grpSpPr>
      <p:sp>
        <p:nvSpPr>
          <p:cNvPr id="460" name="Google Shape;460;gd774ca7e2f_1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1" name="Google Shape;461;gd774ca7e2f_1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864308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320553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CA" dirty="0"/>
              <a:t>These results are from regression model using all data for training and weather is limited to temperature only</a:t>
            </a:r>
          </a:p>
        </p:txBody>
      </p:sp>
    </p:spTree>
    <p:extLst>
      <p:ext uri="{BB962C8B-B14F-4D97-AF65-F5344CB8AC3E}">
        <p14:creationId xmlns:p14="http://schemas.microsoft.com/office/powerpoint/2010/main" val="326471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1618627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d774ca7e2f_1_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9" name="Google Shape;549;gd774ca7e2f_1_1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3319975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664104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65052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CA" dirty="0"/>
          </a:p>
        </p:txBody>
      </p:sp>
    </p:spTree>
    <p:extLst>
      <p:ext uri="{BB962C8B-B14F-4D97-AF65-F5344CB8AC3E}">
        <p14:creationId xmlns:p14="http://schemas.microsoft.com/office/powerpoint/2010/main" val="2097416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b="1" dirty="0"/>
              <a:t>Correlation</a:t>
            </a:r>
            <a:r>
              <a:rPr lang="en-US" dirty="0"/>
              <a:t> is a statistical technique that can show whether and how strongly pairs of variables are related/interdependent. When we look at two variables over time if one variable changes how does this affect change in another variable. So </a:t>
            </a:r>
            <a:r>
              <a:rPr lang="en-US" b="1" i="1" dirty="0"/>
              <a:t>Correlation measures to what extent different variables are interdependent.</a:t>
            </a:r>
          </a:p>
          <a:p>
            <a:endParaRPr lang="en-US" b="1" i="1" dirty="0"/>
          </a:p>
          <a:p>
            <a:pPr marL="139700" indent="0">
              <a:buFont typeface="Arial" panose="020B0604020202020204" pitchFamily="34" charset="0"/>
              <a:buNone/>
            </a:pPr>
            <a:r>
              <a:rPr lang="en-US" b="1" dirty="0"/>
              <a:t>Positive Correlation</a:t>
            </a:r>
            <a:r>
              <a:rPr lang="en-US" dirty="0"/>
              <a:t>: both variables change in the same direction.</a:t>
            </a:r>
          </a:p>
          <a:p>
            <a:pPr marL="139700" indent="0">
              <a:buFont typeface="Arial" panose="020B0604020202020204" pitchFamily="34" charset="0"/>
              <a:buNone/>
            </a:pPr>
            <a:r>
              <a:rPr lang="en-US" b="1" dirty="0"/>
              <a:t>Neutral Correlation</a:t>
            </a:r>
            <a:r>
              <a:rPr lang="en-US" dirty="0"/>
              <a:t>: No relationship in the change of the variables.</a:t>
            </a:r>
          </a:p>
          <a:p>
            <a:pPr marL="139700" indent="0">
              <a:buFont typeface="Arial" panose="020B0604020202020204" pitchFamily="34" charset="0"/>
              <a:buNone/>
            </a:pPr>
            <a:r>
              <a:rPr lang="en-US" b="1" dirty="0"/>
              <a:t>Negative Correlation</a:t>
            </a:r>
            <a:r>
              <a:rPr lang="en-US" dirty="0"/>
              <a:t>: variables change in opposite directions.</a:t>
            </a:r>
          </a:p>
          <a:p>
            <a:pPr marL="139700" indent="0">
              <a:buFont typeface="Arial" panose="020B0604020202020204" pitchFamily="34" charset="0"/>
              <a:buNone/>
            </a:pPr>
            <a:endParaRPr lang="en-US" dirty="0"/>
          </a:p>
          <a:p>
            <a:pPr marL="139700" indent="0">
              <a:buFont typeface="Arial" panose="020B0604020202020204" pitchFamily="34" charset="0"/>
              <a:buNone/>
            </a:pPr>
            <a:endParaRPr lang="en-CA" dirty="0"/>
          </a:p>
          <a:p>
            <a:pPr marL="139700" indent="0">
              <a:buNone/>
            </a:pPr>
            <a:r>
              <a:rPr lang="en-US" dirty="0"/>
              <a:t>Correlation coefficient and p-value will tell you the following:</a:t>
            </a:r>
          </a:p>
          <a:p>
            <a:r>
              <a:rPr lang="en-US" dirty="0"/>
              <a:t>Correlation coefficient </a:t>
            </a:r>
          </a:p>
          <a:p>
            <a:pPr>
              <a:buFont typeface="Arial" panose="020B0604020202020204" pitchFamily="34" charset="0"/>
              <a:buChar char="•"/>
            </a:pPr>
            <a:r>
              <a:rPr lang="en-US" dirty="0"/>
              <a:t>close to +1: Large Positive relationship</a:t>
            </a:r>
          </a:p>
          <a:p>
            <a:pPr>
              <a:buFont typeface="Arial" panose="020B0604020202020204" pitchFamily="34" charset="0"/>
              <a:buChar char="•"/>
            </a:pPr>
            <a:r>
              <a:rPr lang="en-US" dirty="0"/>
              <a:t>close to -1: Large Negative relationship</a:t>
            </a:r>
          </a:p>
          <a:p>
            <a:pPr>
              <a:buFont typeface="Arial" panose="020B0604020202020204" pitchFamily="34" charset="0"/>
              <a:buChar char="•"/>
            </a:pPr>
            <a:r>
              <a:rPr lang="en-US" dirty="0"/>
              <a:t>close to 0: No relationship</a:t>
            </a:r>
          </a:p>
          <a:p>
            <a:pPr marL="139700" indent="0">
              <a:buNone/>
            </a:pPr>
            <a:endParaRPr lang="en-US" dirty="0"/>
          </a:p>
          <a:p>
            <a:pPr marL="139700" indent="0">
              <a:buNone/>
            </a:pPr>
            <a:r>
              <a:rPr lang="en-US" dirty="0"/>
              <a:t>P-value</a:t>
            </a:r>
          </a:p>
          <a:p>
            <a:pPr>
              <a:buFont typeface="Arial" panose="020B0604020202020204" pitchFamily="34" charset="0"/>
              <a:buChar char="•"/>
            </a:pPr>
            <a:r>
              <a:rPr lang="en-US" dirty="0"/>
              <a:t>P-value &lt;0.001: </a:t>
            </a:r>
            <a:r>
              <a:rPr lang="en-US" b="1" dirty="0"/>
              <a:t>Strong</a:t>
            </a:r>
            <a:r>
              <a:rPr lang="en-US" dirty="0"/>
              <a:t> certainty in the result</a:t>
            </a:r>
          </a:p>
          <a:p>
            <a:pPr>
              <a:buFont typeface="Arial" panose="020B0604020202020204" pitchFamily="34" charset="0"/>
              <a:buChar char="•"/>
            </a:pPr>
            <a:r>
              <a:rPr lang="en-US" dirty="0"/>
              <a:t>P-value &lt;0.05:  </a:t>
            </a:r>
            <a:r>
              <a:rPr lang="en-US" b="1" dirty="0"/>
              <a:t>Moderate</a:t>
            </a:r>
            <a:r>
              <a:rPr lang="en-US" dirty="0"/>
              <a:t> certainty in the result</a:t>
            </a:r>
          </a:p>
          <a:p>
            <a:pPr>
              <a:buFont typeface="Arial" panose="020B0604020202020204" pitchFamily="34" charset="0"/>
              <a:buChar char="•"/>
            </a:pPr>
            <a:r>
              <a:rPr lang="en-US" dirty="0"/>
              <a:t>P-value &lt;0.1: </a:t>
            </a:r>
            <a:r>
              <a:rPr lang="en-US" b="1" dirty="0"/>
              <a:t>Weak</a:t>
            </a:r>
            <a:r>
              <a:rPr lang="en-US" dirty="0"/>
              <a:t> certainty in the result</a:t>
            </a:r>
          </a:p>
          <a:p>
            <a:pPr>
              <a:buFont typeface="Arial" panose="020B0604020202020204" pitchFamily="34" charset="0"/>
              <a:buChar char="•"/>
            </a:pPr>
            <a:r>
              <a:rPr lang="en-US" dirty="0"/>
              <a:t>P-value &gt; 0.1: </a:t>
            </a:r>
            <a:r>
              <a:rPr lang="en-US" b="1" dirty="0"/>
              <a:t>No</a:t>
            </a:r>
            <a:r>
              <a:rPr lang="en-US" dirty="0"/>
              <a:t> certainty in the result</a:t>
            </a:r>
          </a:p>
          <a:p>
            <a:pPr marL="139700" indent="0">
              <a:buFont typeface="Arial" panose="020B0604020202020204" pitchFamily="34" charset="0"/>
              <a:buNone/>
            </a:pPr>
            <a:endParaRPr lang="en-CA" dirty="0"/>
          </a:p>
          <a:p>
            <a:pPr marL="139700" indent="0">
              <a:buFont typeface="Arial" panose="020B0604020202020204" pitchFamily="34" charset="0"/>
              <a:buNone/>
            </a:pPr>
            <a:r>
              <a:rPr lang="en-US" b="1" dirty="0"/>
              <a:t>There are several statistics that you can use to quantify correlation- </a:t>
            </a:r>
            <a:r>
              <a:rPr lang="en-CA" b="1" dirty="0"/>
              <a:t>Pearson’s r | Spearman’s </a:t>
            </a:r>
            <a:r>
              <a:rPr lang="el-GR" b="1" dirty="0"/>
              <a:t>ρ (</a:t>
            </a:r>
            <a:r>
              <a:rPr lang="en-CA" b="1" dirty="0"/>
              <a:t>rho) | Kendall’s </a:t>
            </a:r>
            <a:r>
              <a:rPr lang="el-GR" b="1" dirty="0"/>
              <a:t>τ (</a:t>
            </a:r>
            <a:r>
              <a:rPr lang="en-CA" b="1" dirty="0"/>
              <a:t>tau)</a:t>
            </a:r>
          </a:p>
          <a:p>
            <a:pPr marL="139700" indent="0">
              <a:buFont typeface="Arial" panose="020B0604020202020204" pitchFamily="34" charset="0"/>
              <a:buNone/>
            </a:pPr>
            <a:r>
              <a:rPr lang="en-US" dirty="0"/>
              <a:t>Pearson’s coefficient measures linear correlation, while the Spearman and Kendall coefficients compare the ranks of data.</a:t>
            </a:r>
            <a:endParaRPr lang="en-CA" dirty="0"/>
          </a:p>
          <a:p>
            <a:pPr marL="139700" indent="0">
              <a:buNone/>
            </a:pPr>
            <a:endParaRPr lang="en-US" dirty="0"/>
          </a:p>
          <a:p>
            <a:pPr marL="139700" indent="0">
              <a:buNone/>
            </a:pPr>
            <a:r>
              <a:rPr lang="en-US" dirty="0"/>
              <a:t>Several conditions have to be met for Pearson correlation:</a:t>
            </a:r>
          </a:p>
          <a:p>
            <a:pPr>
              <a:buFont typeface="Arial" panose="020B0604020202020204" pitchFamily="34" charset="0"/>
              <a:buChar char="•"/>
            </a:pPr>
            <a:r>
              <a:rPr lang="en-US" dirty="0"/>
              <a:t>The variables x and y must have a linear relationship.</a:t>
            </a:r>
          </a:p>
          <a:p>
            <a:pPr>
              <a:buFont typeface="Arial" panose="020B0604020202020204" pitchFamily="34" charset="0"/>
              <a:buChar char="•"/>
            </a:pPr>
            <a:r>
              <a:rPr lang="en-US" dirty="0"/>
              <a:t>Both variables x and y must be numerical (or quantitative). That is, they must represent measurements with no restriction on their level of precision. For example, numbers with many places after the decimal point (such as 11.332 or 0.229) must be possible.</a:t>
            </a:r>
          </a:p>
          <a:p>
            <a:pPr>
              <a:buFont typeface="Arial" panose="020B0604020202020204" pitchFamily="34" charset="0"/>
              <a:buChar char="•"/>
            </a:pPr>
            <a:r>
              <a:rPr lang="en-US" dirty="0"/>
              <a:t>The y values must have a normal distribution for each x, with the same variance at each x.</a:t>
            </a:r>
          </a:p>
          <a:p>
            <a:pPr marL="139700" indent="0">
              <a:buNone/>
            </a:pPr>
            <a:r>
              <a:rPr lang="en-US" dirty="0"/>
              <a:t>The Pearson’s correlation coefficient is calculated as the covariance of the two variables divided by the product of the standard deviation of each data sample. It is the normalization of the covariance between the two variables to give an interpretable score.</a:t>
            </a:r>
          </a:p>
          <a:p>
            <a:pPr marL="139700" indent="0">
              <a:buFont typeface="Arial" panose="020B0604020202020204" pitchFamily="34" charset="0"/>
              <a:buNone/>
            </a:pPr>
            <a:endParaRPr lang="en-CA" dirty="0"/>
          </a:p>
          <a:p>
            <a:pPr marL="139700" indent="0">
              <a:buFont typeface="Arial" panose="020B0604020202020204" pitchFamily="34" charset="0"/>
              <a:buNone/>
            </a:pPr>
            <a:endParaRPr lang="en-CA" dirty="0"/>
          </a:p>
          <a:p>
            <a:pPr marL="139700" indent="0">
              <a:buNone/>
            </a:pPr>
            <a:r>
              <a:rPr lang="en-US" dirty="0"/>
              <a:t>Pearson’s correlation coefficient is the most common correlation measure out there, but it is not the only one out there. Pearson’s correlation can't be used in all cases. It can be used only when certain conditions are met (those are listed above). If those conditions are not met, the rank correlation can be used (Spearman and Kendall correlation).</a:t>
            </a:r>
          </a:p>
          <a:p>
            <a:pPr marL="139700" indent="0">
              <a:buNone/>
            </a:pPr>
            <a:r>
              <a:rPr lang="en-US" dirty="0"/>
              <a:t>Pearson correlation assumes that the data we are comparing is normally distributed. When that assumption is not true, the correlation value is reflecting the true association. Spearman correlation does not assume that data is from a specific distribution, so it is a non-parametric correlation measure.</a:t>
            </a:r>
          </a:p>
          <a:p>
            <a:pPr marL="139700" indent="0">
              <a:buNone/>
            </a:pPr>
            <a:r>
              <a:rPr lang="en-US" dirty="0"/>
              <a:t>Spearman’s rank correlation doesn’t require the relationship between the variables x and y to be linear, nor does it require the variables to be numerical. You use Spearman’s rank when the variables are ordinal or/and quantitative. Rather than examining a linear relationship between x and y, Spearman’s rank correlation tests whether two ordinal or/and quantitative variables are dependent.</a:t>
            </a:r>
          </a:p>
          <a:p>
            <a:pPr marL="139700" indent="0">
              <a:buNone/>
            </a:pPr>
            <a:r>
              <a:rPr lang="en-US" dirty="0"/>
              <a:t>Note that Spearman’s rank applies to ordinal data only.</a:t>
            </a:r>
          </a:p>
          <a:p>
            <a:pPr marL="139700" indent="0">
              <a:buNone/>
            </a:pPr>
            <a:r>
              <a:rPr lang="en-US" dirty="0"/>
              <a:t>Spearman's correlation coefficient, (ρ, also signified by </a:t>
            </a:r>
            <a:r>
              <a:rPr lang="en-US" i="1" dirty="0" err="1"/>
              <a:t>r</a:t>
            </a:r>
            <a:r>
              <a:rPr lang="en-US" dirty="0" err="1"/>
              <a:t>s</a:t>
            </a:r>
            <a:r>
              <a:rPr lang="en-US" dirty="0"/>
              <a:t>) measures the strength and direction of the association between two ranked variables. You interpret the value of Spearman’s rank correlation, ρ the same way you interpret Pearson’s correlation, r. The values of ρ can go between –1 and +1. The higher the magnitude of ρ (in the positive or negative directions), the stronger the relationship.</a:t>
            </a:r>
          </a:p>
          <a:p>
            <a:pPr marL="139700" indent="0">
              <a:buFont typeface="Arial" panose="020B0604020202020204" pitchFamily="34" charset="0"/>
              <a:buNone/>
            </a:pPr>
            <a:endParaRPr lang="en-CA" dirty="0"/>
          </a:p>
          <a:p>
            <a:pPr marL="139700" indent="0">
              <a:buFont typeface="Arial" panose="020B0604020202020204" pitchFamily="34" charset="0"/>
              <a:buNone/>
            </a:pPr>
            <a:endParaRPr lang="en-US" dirty="0"/>
          </a:p>
          <a:p>
            <a:endParaRPr lang="en-US" dirty="0"/>
          </a:p>
          <a:p>
            <a:endParaRPr lang="en-CA" dirty="0"/>
          </a:p>
        </p:txBody>
      </p:sp>
    </p:spTree>
    <p:extLst>
      <p:ext uri="{BB962C8B-B14F-4D97-AF65-F5344CB8AC3E}">
        <p14:creationId xmlns:p14="http://schemas.microsoft.com/office/powerpoint/2010/main" val="2376374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CA" dirty="0"/>
              <a:t>These results are based on weather = temp and humidity</a:t>
            </a:r>
          </a:p>
        </p:txBody>
      </p:sp>
    </p:spTree>
    <p:extLst>
      <p:ext uri="{BB962C8B-B14F-4D97-AF65-F5344CB8AC3E}">
        <p14:creationId xmlns:p14="http://schemas.microsoft.com/office/powerpoint/2010/main" val="3670639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pic>
        <p:nvPicPr>
          <p:cNvPr id="10" name="Google Shape;10;p2"/>
          <p:cNvPicPr preferRelativeResize="0"/>
          <p:nvPr/>
        </p:nvPicPr>
        <p:blipFill rotWithShape="1">
          <a:blip r:embed="rId2">
            <a:alphaModFix/>
          </a:blip>
          <a:srcRect t="893" b="893"/>
          <a:stretch/>
        </p:blipFill>
        <p:spPr>
          <a:xfrm>
            <a:off x="8159800" y="1226525"/>
            <a:ext cx="559400" cy="551575"/>
          </a:xfrm>
          <a:prstGeom prst="rect">
            <a:avLst/>
          </a:prstGeom>
          <a:noFill/>
          <a:ln>
            <a:noFill/>
          </a:ln>
        </p:spPr>
      </p:pic>
      <p:pic>
        <p:nvPicPr>
          <p:cNvPr id="11" name="Google Shape;11;p2"/>
          <p:cNvPicPr preferRelativeResize="0"/>
          <p:nvPr/>
        </p:nvPicPr>
        <p:blipFill rotWithShape="1">
          <a:blip r:embed="rId3">
            <a:alphaModFix/>
          </a:blip>
          <a:srcRect t="893" b="893"/>
          <a:stretch/>
        </p:blipFill>
        <p:spPr>
          <a:xfrm>
            <a:off x="5840740" y="3088850"/>
            <a:ext cx="868960" cy="856825"/>
          </a:xfrm>
          <a:prstGeom prst="rect">
            <a:avLst/>
          </a:prstGeom>
          <a:noFill/>
          <a:ln>
            <a:noFill/>
          </a:ln>
        </p:spPr>
      </p:pic>
      <p:sp>
        <p:nvSpPr>
          <p:cNvPr id="12" name="Google Shape;12;p2"/>
          <p:cNvSpPr/>
          <p:nvPr/>
        </p:nvSpPr>
        <p:spPr>
          <a:xfrm>
            <a:off x="0" y="1593450"/>
            <a:ext cx="9144000" cy="19566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txBox="1">
            <a:spLocks noGrp="1"/>
          </p:cNvSpPr>
          <p:nvPr>
            <p:ph type="ctrTitle"/>
          </p:nvPr>
        </p:nvSpPr>
        <p:spPr>
          <a:xfrm>
            <a:off x="514800" y="2010200"/>
            <a:ext cx="6390300" cy="1141500"/>
          </a:xfrm>
          <a:prstGeom prst="rect">
            <a:avLst/>
          </a:prstGeom>
        </p:spPr>
        <p:txBody>
          <a:bodyPr spcFirstLastPara="1" wrap="square" lIns="0" tIns="0" rIns="0" bIns="0" anchor="ctr" anchorCtr="0">
            <a:noAutofit/>
          </a:bodyPr>
          <a:lstStyle>
            <a:lvl1pPr lvl="0" rtl="0">
              <a:spcBef>
                <a:spcPts val="0"/>
              </a:spcBef>
              <a:spcAft>
                <a:spcPts val="0"/>
              </a:spcAft>
              <a:buSzPts val="5400"/>
              <a:buNone/>
              <a:defRPr sz="5400"/>
            </a:lvl1pPr>
            <a:lvl2pPr lvl="1" rtl="0">
              <a:spcBef>
                <a:spcPts val="0"/>
              </a:spcBef>
              <a:spcAft>
                <a:spcPts val="0"/>
              </a:spcAft>
              <a:buSzPts val="5400"/>
              <a:buNone/>
              <a:defRPr sz="5400"/>
            </a:lvl2pPr>
            <a:lvl3pPr lvl="2" rtl="0">
              <a:spcBef>
                <a:spcPts val="0"/>
              </a:spcBef>
              <a:spcAft>
                <a:spcPts val="0"/>
              </a:spcAft>
              <a:buSzPts val="5400"/>
              <a:buNone/>
              <a:defRPr sz="5400"/>
            </a:lvl3pPr>
            <a:lvl4pPr lvl="3" rtl="0">
              <a:spcBef>
                <a:spcPts val="0"/>
              </a:spcBef>
              <a:spcAft>
                <a:spcPts val="0"/>
              </a:spcAft>
              <a:buSzPts val="5400"/>
              <a:buNone/>
              <a:defRPr sz="5400"/>
            </a:lvl4pPr>
            <a:lvl5pPr lvl="4" rtl="0">
              <a:spcBef>
                <a:spcPts val="0"/>
              </a:spcBef>
              <a:spcAft>
                <a:spcPts val="0"/>
              </a:spcAft>
              <a:buSzPts val="5400"/>
              <a:buNone/>
              <a:defRPr sz="5400"/>
            </a:lvl5pPr>
            <a:lvl6pPr lvl="5" rtl="0">
              <a:spcBef>
                <a:spcPts val="0"/>
              </a:spcBef>
              <a:spcAft>
                <a:spcPts val="0"/>
              </a:spcAft>
              <a:buSzPts val="5400"/>
              <a:buNone/>
              <a:defRPr sz="5400"/>
            </a:lvl6pPr>
            <a:lvl7pPr lvl="6" rtl="0">
              <a:spcBef>
                <a:spcPts val="0"/>
              </a:spcBef>
              <a:spcAft>
                <a:spcPts val="0"/>
              </a:spcAft>
              <a:buSzPts val="5400"/>
              <a:buNone/>
              <a:defRPr sz="5400"/>
            </a:lvl7pPr>
            <a:lvl8pPr lvl="7" rtl="0">
              <a:spcBef>
                <a:spcPts val="0"/>
              </a:spcBef>
              <a:spcAft>
                <a:spcPts val="0"/>
              </a:spcAft>
              <a:buSzPts val="5400"/>
              <a:buNone/>
              <a:defRPr sz="5400"/>
            </a:lvl8pPr>
            <a:lvl9pPr lvl="8" rtl="0">
              <a:spcBef>
                <a:spcPts val="0"/>
              </a:spcBef>
              <a:spcAft>
                <a:spcPts val="0"/>
              </a:spcAft>
              <a:buSzPts val="5400"/>
              <a:buNone/>
              <a:defRPr sz="5400"/>
            </a:lvl9pPr>
          </a:lstStyle>
          <a:p>
            <a:endParaRPr/>
          </a:p>
        </p:txBody>
      </p:sp>
      <p:sp>
        <p:nvSpPr>
          <p:cNvPr id="14" name="Google Shape;14;p2"/>
          <p:cNvSpPr/>
          <p:nvPr/>
        </p:nvSpPr>
        <p:spPr>
          <a:xfrm>
            <a:off x="0" y="1593450"/>
            <a:ext cx="81600" cy="1956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Google Shape;15;p2"/>
          <p:cNvPicPr preferRelativeResize="0"/>
          <p:nvPr/>
        </p:nvPicPr>
        <p:blipFill rotWithShape="1">
          <a:blip r:embed="rId3">
            <a:alphaModFix/>
          </a:blip>
          <a:srcRect t="32908"/>
          <a:stretch/>
        </p:blipFill>
        <p:spPr>
          <a:xfrm>
            <a:off x="4559800" y="0"/>
            <a:ext cx="2083750" cy="1403574"/>
          </a:xfrm>
          <a:prstGeom prst="rect">
            <a:avLst/>
          </a:prstGeom>
          <a:noFill/>
          <a:ln>
            <a:noFill/>
          </a:ln>
        </p:spPr>
      </p:pic>
      <p:pic>
        <p:nvPicPr>
          <p:cNvPr id="16" name="Google Shape;16;p2"/>
          <p:cNvPicPr preferRelativeResize="0"/>
          <p:nvPr/>
        </p:nvPicPr>
        <p:blipFill rotWithShape="1">
          <a:blip r:embed="rId4">
            <a:alphaModFix/>
          </a:blip>
          <a:srcRect t="980" b="990"/>
          <a:stretch/>
        </p:blipFill>
        <p:spPr>
          <a:xfrm>
            <a:off x="7328456" y="3151696"/>
            <a:ext cx="1313988" cy="1293307"/>
          </a:xfrm>
          <a:prstGeom prst="rect">
            <a:avLst/>
          </a:prstGeom>
          <a:noFill/>
          <a:ln>
            <a:noFill/>
          </a:ln>
        </p:spPr>
      </p:pic>
      <p:pic>
        <p:nvPicPr>
          <p:cNvPr id="17" name="Google Shape;17;p2"/>
          <p:cNvPicPr preferRelativeResize="0"/>
          <p:nvPr/>
        </p:nvPicPr>
        <p:blipFill rotWithShape="1">
          <a:blip r:embed="rId4">
            <a:alphaModFix/>
          </a:blip>
          <a:srcRect t="980" b="990"/>
          <a:stretch/>
        </p:blipFill>
        <p:spPr>
          <a:xfrm>
            <a:off x="6498100" y="1154949"/>
            <a:ext cx="868950" cy="855263"/>
          </a:xfrm>
          <a:prstGeom prst="rect">
            <a:avLst/>
          </a:prstGeom>
          <a:noFill/>
          <a:ln>
            <a:noFill/>
          </a:ln>
        </p:spPr>
      </p:pic>
      <p:pic>
        <p:nvPicPr>
          <p:cNvPr id="18" name="Google Shape;18;p2"/>
          <p:cNvPicPr preferRelativeResize="0"/>
          <p:nvPr/>
        </p:nvPicPr>
        <p:blipFill rotWithShape="1">
          <a:blip r:embed="rId2">
            <a:alphaModFix/>
          </a:blip>
          <a:srcRect r="30045"/>
          <a:stretch/>
        </p:blipFill>
        <p:spPr>
          <a:xfrm>
            <a:off x="8642450" y="2072900"/>
            <a:ext cx="501549" cy="719850"/>
          </a:xfrm>
          <a:prstGeom prst="rect">
            <a:avLst/>
          </a:prstGeom>
          <a:noFill/>
          <a:ln>
            <a:noFill/>
          </a:ln>
        </p:spPr>
      </p:pic>
      <p:pic>
        <p:nvPicPr>
          <p:cNvPr id="19" name="Google Shape;19;p2"/>
          <p:cNvPicPr preferRelativeResize="0"/>
          <p:nvPr/>
        </p:nvPicPr>
        <p:blipFill rotWithShape="1">
          <a:blip r:embed="rId3">
            <a:alphaModFix/>
          </a:blip>
          <a:srcRect b="57406"/>
          <a:stretch/>
        </p:blipFill>
        <p:spPr>
          <a:xfrm>
            <a:off x="3900875" y="4430100"/>
            <a:ext cx="1680350" cy="718575"/>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p:cSld name="TITLE_1">
    <p:spTree>
      <p:nvGrpSpPr>
        <p:cNvPr id="1" name="Shape 20"/>
        <p:cNvGrpSpPr/>
        <p:nvPr/>
      </p:nvGrpSpPr>
      <p:grpSpPr>
        <a:xfrm>
          <a:off x="0" y="0"/>
          <a:ext cx="0" cy="0"/>
          <a:chOff x="0" y="0"/>
          <a:chExt cx="0" cy="0"/>
        </a:xfrm>
      </p:grpSpPr>
      <p:pic>
        <p:nvPicPr>
          <p:cNvPr id="21" name="Google Shape;21;p3"/>
          <p:cNvPicPr preferRelativeResize="0"/>
          <p:nvPr/>
        </p:nvPicPr>
        <p:blipFill rotWithShape="1">
          <a:blip r:embed="rId2">
            <a:alphaModFix/>
          </a:blip>
          <a:srcRect t="670" b="661"/>
          <a:stretch/>
        </p:blipFill>
        <p:spPr>
          <a:xfrm>
            <a:off x="7894561" y="4059551"/>
            <a:ext cx="725380" cy="718575"/>
          </a:xfrm>
          <a:prstGeom prst="rect">
            <a:avLst/>
          </a:prstGeom>
          <a:noFill/>
          <a:ln>
            <a:noFill/>
          </a:ln>
        </p:spPr>
      </p:pic>
      <p:pic>
        <p:nvPicPr>
          <p:cNvPr id="22" name="Google Shape;22;p3"/>
          <p:cNvPicPr preferRelativeResize="0"/>
          <p:nvPr/>
        </p:nvPicPr>
        <p:blipFill rotWithShape="1">
          <a:blip r:embed="rId3">
            <a:alphaModFix/>
          </a:blip>
          <a:srcRect t="893" b="893"/>
          <a:stretch/>
        </p:blipFill>
        <p:spPr>
          <a:xfrm>
            <a:off x="4843790" y="3138650"/>
            <a:ext cx="868960" cy="856825"/>
          </a:xfrm>
          <a:prstGeom prst="rect">
            <a:avLst/>
          </a:prstGeom>
          <a:noFill/>
          <a:ln>
            <a:noFill/>
          </a:ln>
        </p:spPr>
      </p:pic>
      <p:pic>
        <p:nvPicPr>
          <p:cNvPr id="23" name="Google Shape;23;p3"/>
          <p:cNvPicPr preferRelativeResize="0"/>
          <p:nvPr/>
        </p:nvPicPr>
        <p:blipFill rotWithShape="1">
          <a:blip r:embed="rId2">
            <a:alphaModFix/>
          </a:blip>
          <a:srcRect r="30045"/>
          <a:stretch/>
        </p:blipFill>
        <p:spPr>
          <a:xfrm>
            <a:off x="8642450" y="1370757"/>
            <a:ext cx="501549" cy="719850"/>
          </a:xfrm>
          <a:prstGeom prst="rect">
            <a:avLst/>
          </a:prstGeom>
          <a:noFill/>
          <a:ln>
            <a:noFill/>
          </a:ln>
        </p:spPr>
      </p:pic>
      <p:sp>
        <p:nvSpPr>
          <p:cNvPr id="24" name="Google Shape;24;p3"/>
          <p:cNvSpPr/>
          <p:nvPr/>
        </p:nvSpPr>
        <p:spPr>
          <a:xfrm>
            <a:off x="0" y="1784975"/>
            <a:ext cx="9144000" cy="15735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3"/>
          <p:cNvSpPr txBox="1">
            <a:spLocks noGrp="1"/>
          </p:cNvSpPr>
          <p:nvPr>
            <p:ph type="ctrTitle"/>
          </p:nvPr>
        </p:nvSpPr>
        <p:spPr>
          <a:xfrm>
            <a:off x="514800" y="2025550"/>
            <a:ext cx="8114400" cy="655800"/>
          </a:xfrm>
          <a:prstGeom prst="rect">
            <a:avLst/>
          </a:prstGeom>
        </p:spPr>
        <p:txBody>
          <a:bodyPr spcFirstLastPara="1" wrap="square" lIns="0" tIns="0" rIns="0" bIns="0" anchor="b" anchorCtr="0">
            <a:no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26" name="Google Shape;26;p3"/>
          <p:cNvSpPr txBox="1">
            <a:spLocks noGrp="1"/>
          </p:cNvSpPr>
          <p:nvPr>
            <p:ph type="subTitle" idx="1"/>
          </p:nvPr>
        </p:nvSpPr>
        <p:spPr>
          <a:xfrm>
            <a:off x="514800" y="2702092"/>
            <a:ext cx="8114400" cy="415800"/>
          </a:xfrm>
          <a:prstGeom prst="rect">
            <a:avLst/>
          </a:prstGeom>
        </p:spPr>
        <p:txBody>
          <a:bodyPr spcFirstLastPara="1" wrap="square" lIns="0" tIns="0" rIns="0" bIns="0" anchor="t" anchorCtr="0">
            <a:noAutofit/>
          </a:bodyPr>
          <a:lstStyle>
            <a:lvl1pPr lvl="0" rtl="0">
              <a:spcBef>
                <a:spcPts val="0"/>
              </a:spcBef>
              <a:spcAft>
                <a:spcPts val="0"/>
              </a:spcAft>
              <a:buClr>
                <a:schemeClr val="accent6"/>
              </a:buClr>
              <a:buSzPts val="2400"/>
              <a:buNone/>
              <a:defRPr>
                <a:solidFill>
                  <a:schemeClr val="accent6"/>
                </a:solidFill>
              </a:defRPr>
            </a:lvl1pPr>
            <a:lvl2pPr lvl="1" rtl="0">
              <a:spcBef>
                <a:spcPts val="0"/>
              </a:spcBef>
              <a:spcAft>
                <a:spcPts val="0"/>
              </a:spcAft>
              <a:buClr>
                <a:schemeClr val="accent6"/>
              </a:buClr>
              <a:buSzPts val="3000"/>
              <a:buNone/>
              <a:defRPr sz="3000">
                <a:solidFill>
                  <a:schemeClr val="accent6"/>
                </a:solidFill>
              </a:defRPr>
            </a:lvl2pPr>
            <a:lvl3pPr lvl="2" rtl="0">
              <a:spcBef>
                <a:spcPts val="0"/>
              </a:spcBef>
              <a:spcAft>
                <a:spcPts val="0"/>
              </a:spcAft>
              <a:buClr>
                <a:schemeClr val="accent6"/>
              </a:buClr>
              <a:buSzPts val="3000"/>
              <a:buNone/>
              <a:defRPr sz="3000">
                <a:solidFill>
                  <a:schemeClr val="accent6"/>
                </a:solidFill>
              </a:defRPr>
            </a:lvl3pPr>
            <a:lvl4pPr lvl="3" rtl="0">
              <a:spcBef>
                <a:spcPts val="0"/>
              </a:spcBef>
              <a:spcAft>
                <a:spcPts val="0"/>
              </a:spcAft>
              <a:buClr>
                <a:schemeClr val="accent6"/>
              </a:buClr>
              <a:buSzPts val="3000"/>
              <a:buNone/>
              <a:defRPr sz="3000">
                <a:solidFill>
                  <a:schemeClr val="accent6"/>
                </a:solidFill>
              </a:defRPr>
            </a:lvl4pPr>
            <a:lvl5pPr lvl="4" rtl="0">
              <a:spcBef>
                <a:spcPts val="0"/>
              </a:spcBef>
              <a:spcAft>
                <a:spcPts val="0"/>
              </a:spcAft>
              <a:buClr>
                <a:schemeClr val="accent6"/>
              </a:buClr>
              <a:buSzPts val="3000"/>
              <a:buNone/>
              <a:defRPr sz="3000">
                <a:solidFill>
                  <a:schemeClr val="accent6"/>
                </a:solidFill>
              </a:defRPr>
            </a:lvl5pPr>
            <a:lvl6pPr lvl="5" rtl="0">
              <a:spcBef>
                <a:spcPts val="0"/>
              </a:spcBef>
              <a:spcAft>
                <a:spcPts val="0"/>
              </a:spcAft>
              <a:buClr>
                <a:schemeClr val="accent6"/>
              </a:buClr>
              <a:buSzPts val="3000"/>
              <a:buNone/>
              <a:defRPr sz="3000">
                <a:solidFill>
                  <a:schemeClr val="accent6"/>
                </a:solidFill>
              </a:defRPr>
            </a:lvl6pPr>
            <a:lvl7pPr lvl="6" rtl="0">
              <a:spcBef>
                <a:spcPts val="0"/>
              </a:spcBef>
              <a:spcAft>
                <a:spcPts val="0"/>
              </a:spcAft>
              <a:buClr>
                <a:schemeClr val="accent6"/>
              </a:buClr>
              <a:buSzPts val="3000"/>
              <a:buNone/>
              <a:defRPr sz="3000">
                <a:solidFill>
                  <a:schemeClr val="accent6"/>
                </a:solidFill>
              </a:defRPr>
            </a:lvl7pPr>
            <a:lvl8pPr lvl="7" rtl="0">
              <a:spcBef>
                <a:spcPts val="0"/>
              </a:spcBef>
              <a:spcAft>
                <a:spcPts val="0"/>
              </a:spcAft>
              <a:buClr>
                <a:schemeClr val="accent6"/>
              </a:buClr>
              <a:buSzPts val="3000"/>
              <a:buNone/>
              <a:defRPr sz="3000">
                <a:solidFill>
                  <a:schemeClr val="accent6"/>
                </a:solidFill>
              </a:defRPr>
            </a:lvl8pPr>
            <a:lvl9pPr lvl="8" rtl="0">
              <a:spcBef>
                <a:spcPts val="0"/>
              </a:spcBef>
              <a:spcAft>
                <a:spcPts val="0"/>
              </a:spcAft>
              <a:buClr>
                <a:schemeClr val="accent6"/>
              </a:buClr>
              <a:buSzPts val="3000"/>
              <a:buNone/>
              <a:defRPr sz="3000">
                <a:solidFill>
                  <a:schemeClr val="accent6"/>
                </a:solidFill>
              </a:defRPr>
            </a:lvl9pPr>
          </a:lstStyle>
          <a:p>
            <a:endParaRPr/>
          </a:p>
        </p:txBody>
      </p:sp>
      <p:sp>
        <p:nvSpPr>
          <p:cNvPr id="27" name="Google Shape;27;p3"/>
          <p:cNvSpPr/>
          <p:nvPr/>
        </p:nvSpPr>
        <p:spPr>
          <a:xfrm>
            <a:off x="0" y="1784975"/>
            <a:ext cx="81600" cy="15735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accent5"/>
              </a:solidFill>
            </a:endParaRPr>
          </a:p>
        </p:txBody>
      </p:sp>
      <p:pic>
        <p:nvPicPr>
          <p:cNvPr id="28" name="Google Shape;28;p3"/>
          <p:cNvPicPr preferRelativeResize="0"/>
          <p:nvPr/>
        </p:nvPicPr>
        <p:blipFill rotWithShape="1">
          <a:blip r:embed="rId2">
            <a:alphaModFix/>
          </a:blip>
          <a:srcRect t="893" b="893"/>
          <a:stretch/>
        </p:blipFill>
        <p:spPr>
          <a:xfrm>
            <a:off x="8135275" y="254100"/>
            <a:ext cx="559400" cy="551575"/>
          </a:xfrm>
          <a:prstGeom prst="rect">
            <a:avLst/>
          </a:prstGeom>
          <a:noFill/>
          <a:ln>
            <a:noFill/>
          </a:ln>
        </p:spPr>
      </p:pic>
      <p:pic>
        <p:nvPicPr>
          <p:cNvPr id="29" name="Google Shape;29;p3"/>
          <p:cNvPicPr preferRelativeResize="0"/>
          <p:nvPr/>
        </p:nvPicPr>
        <p:blipFill rotWithShape="1">
          <a:blip r:embed="rId4">
            <a:alphaModFix/>
          </a:blip>
          <a:srcRect t="980" b="990"/>
          <a:stretch/>
        </p:blipFill>
        <p:spPr>
          <a:xfrm>
            <a:off x="5941581" y="711496"/>
            <a:ext cx="1313988" cy="1293307"/>
          </a:xfrm>
          <a:prstGeom prst="rect">
            <a:avLst/>
          </a:prstGeom>
          <a:noFill/>
          <a:ln>
            <a:noFill/>
          </a:ln>
        </p:spPr>
      </p:pic>
      <p:pic>
        <p:nvPicPr>
          <p:cNvPr id="30" name="Google Shape;30;p3"/>
          <p:cNvPicPr preferRelativeResize="0"/>
          <p:nvPr/>
        </p:nvPicPr>
        <p:blipFill rotWithShape="1">
          <a:blip r:embed="rId4">
            <a:alphaModFix/>
          </a:blip>
          <a:srcRect t="980" b="990"/>
          <a:stretch/>
        </p:blipFill>
        <p:spPr>
          <a:xfrm>
            <a:off x="7387100" y="3062074"/>
            <a:ext cx="936025" cy="921275"/>
          </a:xfrm>
          <a:prstGeom prst="rect">
            <a:avLst/>
          </a:prstGeom>
          <a:noFill/>
          <a:ln>
            <a:noFill/>
          </a:ln>
        </p:spPr>
      </p:pic>
      <p:pic>
        <p:nvPicPr>
          <p:cNvPr id="31" name="Google Shape;31;p3"/>
          <p:cNvPicPr preferRelativeResize="0"/>
          <p:nvPr/>
        </p:nvPicPr>
        <p:blipFill rotWithShape="1">
          <a:blip r:embed="rId3">
            <a:alphaModFix/>
          </a:blip>
          <a:srcRect b="44635"/>
          <a:stretch/>
        </p:blipFill>
        <p:spPr>
          <a:xfrm>
            <a:off x="5902900" y="4209475"/>
            <a:ext cx="1680350" cy="934025"/>
          </a:xfrm>
          <a:prstGeom prst="rect">
            <a:avLst/>
          </a:prstGeom>
          <a:noFill/>
          <a:ln>
            <a:noFill/>
          </a:ln>
        </p:spPr>
      </p:pic>
      <p:pic>
        <p:nvPicPr>
          <p:cNvPr id="32" name="Google Shape;32;p3"/>
          <p:cNvPicPr preferRelativeResize="0"/>
          <p:nvPr/>
        </p:nvPicPr>
        <p:blipFill rotWithShape="1">
          <a:blip r:embed="rId3">
            <a:alphaModFix/>
          </a:blip>
          <a:srcRect t="32908"/>
          <a:stretch/>
        </p:blipFill>
        <p:spPr>
          <a:xfrm>
            <a:off x="3629000" y="0"/>
            <a:ext cx="2083750" cy="1403574"/>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86"/>
        <p:cNvGrpSpPr/>
        <p:nvPr/>
      </p:nvGrpSpPr>
      <p:grpSpPr>
        <a:xfrm>
          <a:off x="0" y="0"/>
          <a:ext cx="0" cy="0"/>
          <a:chOff x="0" y="0"/>
          <a:chExt cx="0" cy="0"/>
        </a:xfrm>
      </p:grpSpPr>
      <p:pic>
        <p:nvPicPr>
          <p:cNvPr id="87" name="Google Shape;87;p8"/>
          <p:cNvPicPr preferRelativeResize="0"/>
          <p:nvPr/>
        </p:nvPicPr>
        <p:blipFill rotWithShape="1">
          <a:blip r:embed="rId2">
            <a:alphaModFix/>
          </a:blip>
          <a:srcRect t="893" b="893"/>
          <a:stretch/>
        </p:blipFill>
        <p:spPr>
          <a:xfrm>
            <a:off x="7728625" y="490650"/>
            <a:ext cx="675750" cy="666298"/>
          </a:xfrm>
          <a:prstGeom prst="rect">
            <a:avLst/>
          </a:prstGeom>
          <a:noFill/>
          <a:ln>
            <a:noFill/>
          </a:ln>
        </p:spPr>
      </p:pic>
      <p:pic>
        <p:nvPicPr>
          <p:cNvPr id="88" name="Google Shape;88;p8"/>
          <p:cNvPicPr preferRelativeResize="0"/>
          <p:nvPr/>
        </p:nvPicPr>
        <p:blipFill rotWithShape="1">
          <a:blip r:embed="rId2">
            <a:alphaModFix/>
          </a:blip>
          <a:srcRect b="32971"/>
          <a:stretch/>
        </p:blipFill>
        <p:spPr>
          <a:xfrm>
            <a:off x="7671150" y="4688726"/>
            <a:ext cx="675750" cy="454774"/>
          </a:xfrm>
          <a:prstGeom prst="rect">
            <a:avLst/>
          </a:prstGeom>
          <a:noFill/>
          <a:ln>
            <a:noFill/>
          </a:ln>
        </p:spPr>
      </p:pic>
      <p:grpSp>
        <p:nvGrpSpPr>
          <p:cNvPr id="89" name="Google Shape;89;p8"/>
          <p:cNvGrpSpPr/>
          <p:nvPr/>
        </p:nvGrpSpPr>
        <p:grpSpPr>
          <a:xfrm>
            <a:off x="0" y="40803"/>
            <a:ext cx="9144000" cy="665100"/>
            <a:chOff x="0" y="809153"/>
            <a:chExt cx="9144000" cy="665100"/>
          </a:xfrm>
        </p:grpSpPr>
        <p:sp>
          <p:nvSpPr>
            <p:cNvPr id="90" name="Google Shape;90;p8"/>
            <p:cNvSpPr/>
            <p:nvPr/>
          </p:nvSpPr>
          <p:spPr>
            <a:xfrm>
              <a:off x="0" y="809153"/>
              <a:ext cx="9144000" cy="6651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8"/>
            <p:cNvSpPr/>
            <p:nvPr/>
          </p:nvSpPr>
          <p:spPr>
            <a:xfrm>
              <a:off x="0" y="809153"/>
              <a:ext cx="81600" cy="6651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 name="Google Shape;92;p8"/>
          <p:cNvSpPr txBox="1">
            <a:spLocks noGrp="1"/>
          </p:cNvSpPr>
          <p:nvPr>
            <p:ph type="title"/>
          </p:nvPr>
        </p:nvSpPr>
        <p:spPr>
          <a:xfrm>
            <a:off x="514800" y="40800"/>
            <a:ext cx="6373800" cy="6651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dirty="0"/>
          </a:p>
        </p:txBody>
      </p:sp>
      <p:sp>
        <p:nvSpPr>
          <p:cNvPr id="93" name="Google Shape;93;p8"/>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94" name="Google Shape;94;p8"/>
          <p:cNvPicPr preferRelativeResize="0"/>
          <p:nvPr/>
        </p:nvPicPr>
        <p:blipFill rotWithShape="1">
          <a:blip r:embed="rId3">
            <a:alphaModFix/>
          </a:blip>
          <a:srcRect t="25361"/>
          <a:stretch/>
        </p:blipFill>
        <p:spPr>
          <a:xfrm>
            <a:off x="6282250" y="0"/>
            <a:ext cx="1446375" cy="1083901"/>
          </a:xfrm>
          <a:prstGeom prst="rect">
            <a:avLst/>
          </a:prstGeom>
          <a:noFill/>
          <a:ln>
            <a:noFill/>
          </a:ln>
        </p:spPr>
      </p:pic>
      <p:pic>
        <p:nvPicPr>
          <p:cNvPr id="95" name="Google Shape;95;p8"/>
          <p:cNvPicPr preferRelativeResize="0"/>
          <p:nvPr/>
        </p:nvPicPr>
        <p:blipFill rotWithShape="1">
          <a:blip r:embed="rId4">
            <a:alphaModFix/>
          </a:blip>
          <a:srcRect t="980" b="990"/>
          <a:stretch/>
        </p:blipFill>
        <p:spPr>
          <a:xfrm>
            <a:off x="7330024" y="2266737"/>
            <a:ext cx="1004351" cy="988528"/>
          </a:xfrm>
          <a:prstGeom prst="rect">
            <a:avLst/>
          </a:prstGeom>
          <a:noFill/>
          <a:ln>
            <a:noFill/>
          </a:ln>
        </p:spPr>
      </p:pic>
      <p:pic>
        <p:nvPicPr>
          <p:cNvPr id="96" name="Google Shape;96;p8"/>
          <p:cNvPicPr preferRelativeResize="0"/>
          <p:nvPr/>
        </p:nvPicPr>
        <p:blipFill rotWithShape="1">
          <a:blip r:embed="rId3">
            <a:alphaModFix/>
          </a:blip>
          <a:srcRect r="23383"/>
          <a:stretch/>
        </p:blipFill>
        <p:spPr>
          <a:xfrm>
            <a:off x="8277325" y="3336980"/>
            <a:ext cx="866675" cy="1135695"/>
          </a:xfrm>
          <a:prstGeom prst="rect">
            <a:avLst/>
          </a:prstGeom>
          <a:noFill/>
          <a:ln>
            <a:noFill/>
          </a:ln>
        </p:spPr>
      </p:pic>
      <p:pic>
        <p:nvPicPr>
          <p:cNvPr id="97" name="Google Shape;97;p8"/>
          <p:cNvPicPr preferRelativeResize="0"/>
          <p:nvPr/>
        </p:nvPicPr>
        <p:blipFill rotWithShape="1">
          <a:blip r:embed="rId4">
            <a:alphaModFix/>
          </a:blip>
          <a:srcRect t="980" b="990"/>
          <a:stretch/>
        </p:blipFill>
        <p:spPr>
          <a:xfrm>
            <a:off x="8277325" y="1248138"/>
            <a:ext cx="675748" cy="665101"/>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5"/>
        <p:cNvGrpSpPr/>
        <p:nvPr/>
      </p:nvGrpSpPr>
      <p:grpSpPr>
        <a:xfrm>
          <a:off x="0" y="0"/>
          <a:ext cx="0" cy="0"/>
          <a:chOff x="0" y="0"/>
          <a:chExt cx="0" cy="0"/>
        </a:xfrm>
      </p:grpSpPr>
      <p:sp>
        <p:nvSpPr>
          <p:cNvPr id="136" name="Google Shape;136;p12"/>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137" name="Google Shape;137;p12"/>
          <p:cNvPicPr preferRelativeResize="0"/>
          <p:nvPr/>
        </p:nvPicPr>
        <p:blipFill rotWithShape="1">
          <a:blip r:embed="rId2">
            <a:alphaModFix/>
          </a:blip>
          <a:srcRect t="670" b="670"/>
          <a:stretch/>
        </p:blipFill>
        <p:spPr>
          <a:xfrm>
            <a:off x="8280475" y="2416469"/>
            <a:ext cx="595150" cy="589532"/>
          </a:xfrm>
          <a:prstGeom prst="rect">
            <a:avLst/>
          </a:prstGeom>
          <a:noFill/>
          <a:ln>
            <a:noFill/>
          </a:ln>
        </p:spPr>
      </p:pic>
      <p:pic>
        <p:nvPicPr>
          <p:cNvPr id="138" name="Google Shape;138;p12"/>
          <p:cNvPicPr preferRelativeResize="0"/>
          <p:nvPr/>
        </p:nvPicPr>
        <p:blipFill rotWithShape="1">
          <a:blip r:embed="rId3">
            <a:alphaModFix/>
          </a:blip>
          <a:srcRect t="670" b="661"/>
          <a:stretch/>
        </p:blipFill>
        <p:spPr>
          <a:xfrm>
            <a:off x="7027447" y="232387"/>
            <a:ext cx="595150" cy="589551"/>
          </a:xfrm>
          <a:prstGeom prst="rect">
            <a:avLst/>
          </a:prstGeom>
          <a:noFill/>
          <a:ln>
            <a:noFill/>
          </a:ln>
        </p:spPr>
      </p:pic>
      <p:pic>
        <p:nvPicPr>
          <p:cNvPr id="139" name="Google Shape;139;p12"/>
          <p:cNvPicPr preferRelativeResize="0"/>
          <p:nvPr/>
        </p:nvPicPr>
        <p:blipFill rotWithShape="1">
          <a:blip r:embed="rId3">
            <a:alphaModFix/>
          </a:blip>
          <a:srcRect t="670" b="661"/>
          <a:stretch/>
        </p:blipFill>
        <p:spPr>
          <a:xfrm>
            <a:off x="371105" y="3969625"/>
            <a:ext cx="929773" cy="921025"/>
          </a:xfrm>
          <a:prstGeom prst="rect">
            <a:avLst/>
          </a:prstGeom>
          <a:noFill/>
          <a:ln>
            <a:noFill/>
          </a:ln>
        </p:spPr>
      </p:pic>
      <p:pic>
        <p:nvPicPr>
          <p:cNvPr id="140" name="Google Shape;140;p12"/>
          <p:cNvPicPr preferRelativeResize="0"/>
          <p:nvPr/>
        </p:nvPicPr>
        <p:blipFill rotWithShape="1">
          <a:blip r:embed="rId2">
            <a:alphaModFix/>
          </a:blip>
          <a:srcRect t="31866"/>
          <a:stretch/>
        </p:blipFill>
        <p:spPr>
          <a:xfrm>
            <a:off x="315900" y="0"/>
            <a:ext cx="1732351" cy="1185075"/>
          </a:xfrm>
          <a:prstGeom prst="rect">
            <a:avLst/>
          </a:prstGeom>
          <a:noFill/>
          <a:ln>
            <a:noFill/>
          </a:ln>
        </p:spPr>
      </p:pic>
      <p:pic>
        <p:nvPicPr>
          <p:cNvPr id="141" name="Google Shape;141;p12"/>
          <p:cNvPicPr preferRelativeResize="0"/>
          <p:nvPr/>
        </p:nvPicPr>
        <p:blipFill rotWithShape="1">
          <a:blip r:embed="rId4">
            <a:alphaModFix/>
          </a:blip>
          <a:srcRect t="980" b="990"/>
          <a:stretch/>
        </p:blipFill>
        <p:spPr>
          <a:xfrm>
            <a:off x="281325" y="1351150"/>
            <a:ext cx="710101" cy="698926"/>
          </a:xfrm>
          <a:prstGeom prst="rect">
            <a:avLst/>
          </a:prstGeom>
          <a:noFill/>
          <a:ln>
            <a:noFill/>
          </a:ln>
        </p:spPr>
      </p:pic>
      <p:pic>
        <p:nvPicPr>
          <p:cNvPr id="142" name="Google Shape;142;p12"/>
          <p:cNvPicPr preferRelativeResize="0"/>
          <p:nvPr/>
        </p:nvPicPr>
        <p:blipFill rotWithShape="1">
          <a:blip r:embed="rId4">
            <a:alphaModFix/>
          </a:blip>
          <a:srcRect t="980" b="990"/>
          <a:stretch/>
        </p:blipFill>
        <p:spPr>
          <a:xfrm>
            <a:off x="8033925" y="3686350"/>
            <a:ext cx="841700" cy="828426"/>
          </a:xfrm>
          <a:prstGeom prst="rect">
            <a:avLst/>
          </a:prstGeom>
          <a:noFill/>
          <a:ln>
            <a:noFill/>
          </a:ln>
        </p:spPr>
      </p:pic>
      <p:pic>
        <p:nvPicPr>
          <p:cNvPr id="143" name="Google Shape;143;p12"/>
          <p:cNvPicPr preferRelativeResize="0"/>
          <p:nvPr/>
        </p:nvPicPr>
        <p:blipFill rotWithShape="1">
          <a:blip r:embed="rId2">
            <a:alphaModFix/>
          </a:blip>
          <a:srcRect r="27808"/>
          <a:stretch/>
        </p:blipFill>
        <p:spPr>
          <a:xfrm>
            <a:off x="7910125" y="182975"/>
            <a:ext cx="1233875" cy="1716026"/>
          </a:xfrm>
          <a:prstGeom prst="rect">
            <a:avLst/>
          </a:prstGeom>
          <a:noFill/>
          <a:ln>
            <a:noFill/>
          </a:ln>
        </p:spPr>
      </p:pic>
      <p:pic>
        <p:nvPicPr>
          <p:cNvPr id="144" name="Google Shape;144;p12"/>
          <p:cNvPicPr preferRelativeResize="0"/>
          <p:nvPr/>
        </p:nvPicPr>
        <p:blipFill rotWithShape="1">
          <a:blip r:embed="rId2">
            <a:alphaModFix/>
          </a:blip>
          <a:srcRect l="28341"/>
          <a:stretch/>
        </p:blipFill>
        <p:spPr>
          <a:xfrm>
            <a:off x="0" y="2680300"/>
            <a:ext cx="315900" cy="442601"/>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blipFill dpi="0" rotWithShape="1">
          <a:blip r:embed="rId6">
            <a:alphaModFix amt="65000"/>
            <a:lum/>
          </a:blip>
          <a:srcRect/>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14800" y="809150"/>
            <a:ext cx="6373800" cy="6651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lvl1pPr lvl="0"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1pPr>
            <a:lvl2pPr lvl="1"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2pPr>
            <a:lvl3pPr lvl="2"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3pPr>
            <a:lvl4pPr lvl="3"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4pPr>
            <a:lvl5pPr lvl="4"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5pPr>
            <a:lvl6pPr lvl="5"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6pPr>
            <a:lvl7pPr lvl="6"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7pPr>
            <a:lvl8pPr lvl="7"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8pPr>
            <a:lvl9pPr lvl="8"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9pPr>
          </a:lstStyle>
          <a:p>
            <a:endParaRPr/>
          </a:p>
        </p:txBody>
      </p:sp>
      <p:sp>
        <p:nvSpPr>
          <p:cNvPr id="7" name="Google Shape;7;p1"/>
          <p:cNvSpPr txBox="1">
            <a:spLocks noGrp="1"/>
          </p:cNvSpPr>
          <p:nvPr>
            <p:ph type="body" idx="1"/>
          </p:nvPr>
        </p:nvSpPr>
        <p:spPr>
          <a:xfrm>
            <a:off x="514800" y="1582772"/>
            <a:ext cx="6373800" cy="28899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t" anchorCtr="0">
            <a:noAutofit/>
          </a:bodyPr>
          <a:lstStyle>
            <a:lvl1pPr marL="457200" lvl="0" indent="-381000" rtl="0">
              <a:lnSpc>
                <a:spcPct val="115000"/>
              </a:lnSpc>
              <a:spcBef>
                <a:spcPts val="600"/>
              </a:spcBef>
              <a:spcAft>
                <a:spcPts val="0"/>
              </a:spcAft>
              <a:buClr>
                <a:schemeClr val="accent5"/>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1pPr>
            <a:lvl2pPr marL="914400" lvl="1" indent="-381000" rtl="0">
              <a:lnSpc>
                <a:spcPct val="115000"/>
              </a:lnSpc>
              <a:spcBef>
                <a:spcPts val="0"/>
              </a:spcBef>
              <a:spcAft>
                <a:spcPts val="0"/>
              </a:spcAft>
              <a:buClr>
                <a:schemeClr val="accent4"/>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2pPr>
            <a:lvl3pPr marL="1371600" lvl="2" indent="-381000" rtl="0">
              <a:lnSpc>
                <a:spcPct val="115000"/>
              </a:lnSpc>
              <a:spcBef>
                <a:spcPts val="0"/>
              </a:spcBef>
              <a:spcAft>
                <a:spcPts val="0"/>
              </a:spcAft>
              <a:buClr>
                <a:schemeClr val="accent3"/>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3pPr>
            <a:lvl4pPr marL="1828800" lvl="3"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4pPr>
            <a:lvl5pPr marL="2286000" lvl="4"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5pPr>
            <a:lvl6pPr marL="2743200" lvl="5"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6pPr>
            <a:lvl7pPr marL="3200400" lvl="6"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7pPr>
            <a:lvl8pPr marL="3657600" lvl="7"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8pPr>
            <a:lvl9pPr marL="4114800" lvl="8"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9pPr>
          </a:lstStyle>
          <a:p>
            <a:endParaRPr dirty="0"/>
          </a:p>
        </p:txBody>
      </p:sp>
      <p:sp>
        <p:nvSpPr>
          <p:cNvPr id="8" name="Google Shape;8;p1"/>
          <p:cNvSpPr txBox="1">
            <a:spLocks noGrp="1"/>
          </p:cNvSpPr>
          <p:nvPr>
            <p:ph type="sldNum" idx="12"/>
          </p:nvPr>
        </p:nvSpPr>
        <p:spPr>
          <a:xfrm>
            <a:off x="8404384" y="4673651"/>
            <a:ext cx="548700" cy="3936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lvl1pPr lvl="0" algn="r" rtl="0">
              <a:buNone/>
              <a:defRPr sz="1300">
                <a:solidFill>
                  <a:schemeClr val="lt1"/>
                </a:solidFill>
                <a:latin typeface="Abel"/>
                <a:ea typeface="Abel"/>
                <a:cs typeface="Abel"/>
                <a:sym typeface="Abel"/>
              </a:defRPr>
            </a:lvl1pPr>
            <a:lvl2pPr lvl="1" algn="r" rtl="0">
              <a:buNone/>
              <a:defRPr sz="1300">
                <a:solidFill>
                  <a:schemeClr val="lt1"/>
                </a:solidFill>
                <a:latin typeface="Abel"/>
                <a:ea typeface="Abel"/>
                <a:cs typeface="Abel"/>
                <a:sym typeface="Abel"/>
              </a:defRPr>
            </a:lvl2pPr>
            <a:lvl3pPr lvl="2" algn="r" rtl="0">
              <a:buNone/>
              <a:defRPr sz="1300">
                <a:solidFill>
                  <a:schemeClr val="lt1"/>
                </a:solidFill>
                <a:latin typeface="Abel"/>
                <a:ea typeface="Abel"/>
                <a:cs typeface="Abel"/>
                <a:sym typeface="Abel"/>
              </a:defRPr>
            </a:lvl3pPr>
            <a:lvl4pPr lvl="3" algn="r" rtl="0">
              <a:buNone/>
              <a:defRPr sz="1300">
                <a:solidFill>
                  <a:schemeClr val="lt1"/>
                </a:solidFill>
                <a:latin typeface="Abel"/>
                <a:ea typeface="Abel"/>
                <a:cs typeface="Abel"/>
                <a:sym typeface="Abel"/>
              </a:defRPr>
            </a:lvl4pPr>
            <a:lvl5pPr lvl="4" algn="r" rtl="0">
              <a:buNone/>
              <a:defRPr sz="1300">
                <a:solidFill>
                  <a:schemeClr val="lt1"/>
                </a:solidFill>
                <a:latin typeface="Abel"/>
                <a:ea typeface="Abel"/>
                <a:cs typeface="Abel"/>
                <a:sym typeface="Abel"/>
              </a:defRPr>
            </a:lvl5pPr>
            <a:lvl6pPr lvl="5" algn="r" rtl="0">
              <a:buNone/>
              <a:defRPr sz="1300">
                <a:solidFill>
                  <a:schemeClr val="lt1"/>
                </a:solidFill>
                <a:latin typeface="Abel"/>
                <a:ea typeface="Abel"/>
                <a:cs typeface="Abel"/>
                <a:sym typeface="Abel"/>
              </a:defRPr>
            </a:lvl6pPr>
            <a:lvl7pPr lvl="6" algn="r" rtl="0">
              <a:buNone/>
              <a:defRPr sz="1300">
                <a:solidFill>
                  <a:schemeClr val="lt1"/>
                </a:solidFill>
                <a:latin typeface="Abel"/>
                <a:ea typeface="Abel"/>
                <a:cs typeface="Abel"/>
                <a:sym typeface="Abel"/>
              </a:defRPr>
            </a:lvl7pPr>
            <a:lvl8pPr lvl="7" algn="r" rtl="0">
              <a:buNone/>
              <a:defRPr sz="1300">
                <a:solidFill>
                  <a:schemeClr val="lt1"/>
                </a:solidFill>
                <a:latin typeface="Abel"/>
                <a:ea typeface="Abel"/>
                <a:cs typeface="Abel"/>
                <a:sym typeface="Abel"/>
              </a:defRPr>
            </a:lvl8pPr>
            <a:lvl9pPr lvl="8" algn="r" rtl="0">
              <a:buNone/>
              <a:defRPr sz="1300">
                <a:solidFill>
                  <a:schemeClr val="lt1"/>
                </a:solidFill>
                <a:latin typeface="Abel"/>
                <a:ea typeface="Abel"/>
                <a:cs typeface="Abel"/>
                <a:sym typeface="Abe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4" r:id="rId3"/>
    <p:sldLayoutId id="2147483658" r:id="rId4"/>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22.png"/><Relationship Id="rId7"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hyperlink" Target="https://www.linkedin.com/in/aisha-syed-27506a5/" TargetMode="External"/><Relationship Id="rId7"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saludata.saludcapital.gov.co/osb/index.php/datos-de-salud/enfermedades-trasmisibles/covid19/"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https://github.com/wcota/covid19br" TargetMode="External"/><Relationship Id="rId5" Type="http://schemas.openxmlformats.org/officeDocument/2006/relationships/hyperlink" Target="http://www.openweathermap.org/" TargetMode="External"/><Relationship Id="rId4" Type="http://schemas.openxmlformats.org/officeDocument/2006/relationships/hyperlink" Target="https://github.com/nychealth/coronavirus-data"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5" Type="http://schemas.openxmlformats.org/officeDocument/2006/relationships/slideLayout" Target="../slideLayouts/slideLayout3.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pic>
        <p:nvPicPr>
          <p:cNvPr id="6" name="Picture 5">
            <a:extLst>
              <a:ext uri="{FF2B5EF4-FFF2-40B4-BE49-F238E27FC236}">
                <a16:creationId xmlns:a16="http://schemas.microsoft.com/office/drawing/2014/main" id="{20B7B5A4-A6DF-4D23-ABBC-D320BE9E0666}"/>
              </a:ext>
            </a:extLst>
          </p:cNvPr>
          <p:cNvPicPr>
            <a:picLocks noChangeAspect="1"/>
          </p:cNvPicPr>
          <p:nvPr/>
        </p:nvPicPr>
        <p:blipFill>
          <a:blip r:embed="rId3">
            <a:alphaModFix amt="35000"/>
          </a:blip>
          <a:stretch>
            <a:fillRect/>
          </a:stretch>
        </p:blipFill>
        <p:spPr>
          <a:xfrm>
            <a:off x="0" y="2650396"/>
            <a:ext cx="4402616" cy="2493104"/>
          </a:xfrm>
          <a:prstGeom prst="rect">
            <a:avLst/>
          </a:prstGeom>
          <a:ln>
            <a:noFill/>
          </a:ln>
          <a:effectLst>
            <a:softEdge rad="112500"/>
          </a:effectLst>
        </p:spPr>
      </p:pic>
      <p:sp>
        <p:nvSpPr>
          <p:cNvPr id="160" name="Google Shape;160;p14"/>
          <p:cNvSpPr txBox="1">
            <a:spLocks noGrp="1"/>
          </p:cNvSpPr>
          <p:nvPr>
            <p:ph type="ctrTitle"/>
          </p:nvPr>
        </p:nvSpPr>
        <p:spPr>
          <a:xfrm>
            <a:off x="96567" y="2004429"/>
            <a:ext cx="8738683" cy="1134641"/>
          </a:xfrm>
          <a:prstGeom prst="rect">
            <a:avLst/>
          </a:prstGeom>
        </p:spPr>
        <p:txBody>
          <a:bodyPr spcFirstLastPara="1" wrap="square" lIns="0" tIns="0" rIns="0" bIns="0" anchor="ctr" anchorCtr="0">
            <a:noAutofit/>
          </a:bodyPr>
          <a:lstStyle/>
          <a:p>
            <a:pPr algn="ctr"/>
            <a:r>
              <a:rPr lang="en" sz="3200" dirty="0"/>
              <a:t>Impact of climate variables on Covid-19 cases </a:t>
            </a:r>
            <a:br>
              <a:rPr lang="en" sz="3200" dirty="0"/>
            </a:br>
            <a:r>
              <a:rPr lang="en" sz="3200" dirty="0"/>
              <a:t>for New York and Sao Paulo</a:t>
            </a:r>
            <a:br>
              <a:rPr lang="en" sz="3200" dirty="0"/>
            </a:br>
            <a:r>
              <a:rPr lang="en-US" sz="2000" dirty="0"/>
              <a:t>(Does Covid19 spread faster in colder and drier weather ?)</a:t>
            </a:r>
            <a:br>
              <a:rPr lang="en-US" sz="3200" dirty="0"/>
            </a:br>
            <a:endParaRPr sz="3200" dirty="0"/>
          </a:p>
        </p:txBody>
      </p:sp>
      <p:sp>
        <p:nvSpPr>
          <p:cNvPr id="2" name="TextBox 1">
            <a:extLst>
              <a:ext uri="{FF2B5EF4-FFF2-40B4-BE49-F238E27FC236}">
                <a16:creationId xmlns:a16="http://schemas.microsoft.com/office/drawing/2014/main" id="{54F8CB51-0563-4343-986F-880948B3A651}"/>
              </a:ext>
            </a:extLst>
          </p:cNvPr>
          <p:cNvSpPr txBox="1"/>
          <p:nvPr/>
        </p:nvSpPr>
        <p:spPr>
          <a:xfrm>
            <a:off x="135421" y="3918696"/>
            <a:ext cx="3589413" cy="1169551"/>
          </a:xfrm>
          <a:prstGeom prst="rect">
            <a:avLst/>
          </a:prstGeom>
          <a:noFill/>
        </p:spPr>
        <p:txBody>
          <a:bodyPr wrap="square" rtlCol="0">
            <a:spAutoFit/>
          </a:bodyPr>
          <a:lstStyle/>
          <a:p>
            <a:r>
              <a:rPr lang="en-CA" dirty="0">
                <a:solidFill>
                  <a:schemeClr val="bg1"/>
                </a:solidFill>
              </a:rPr>
              <a:t>Final Project - Data Analytics Bootcamp</a:t>
            </a:r>
          </a:p>
          <a:p>
            <a:r>
              <a:rPr lang="en-CA" dirty="0">
                <a:solidFill>
                  <a:schemeClr val="bg1"/>
                </a:solidFill>
              </a:rPr>
              <a:t>University of Toronto</a:t>
            </a:r>
          </a:p>
          <a:p>
            <a:endParaRPr lang="en-CA" dirty="0">
              <a:solidFill>
                <a:schemeClr val="bg1"/>
              </a:solidFill>
            </a:endParaRPr>
          </a:p>
          <a:p>
            <a:endParaRPr lang="en-CA" dirty="0">
              <a:solidFill>
                <a:schemeClr val="bg1"/>
              </a:solidFill>
            </a:endParaRPr>
          </a:p>
          <a:p>
            <a:r>
              <a:rPr lang="en-CA" dirty="0">
                <a:solidFill>
                  <a:schemeClr val="bg1"/>
                </a:solidFill>
              </a:rPr>
              <a:t>June 9, 2021</a:t>
            </a:r>
          </a:p>
        </p:txBody>
      </p:sp>
      <p:sp>
        <p:nvSpPr>
          <p:cNvPr id="5" name="TextBox 4">
            <a:extLst>
              <a:ext uri="{FF2B5EF4-FFF2-40B4-BE49-F238E27FC236}">
                <a16:creationId xmlns:a16="http://schemas.microsoft.com/office/drawing/2014/main" id="{B4745646-06B1-48B4-B6F2-FA9E64F74079}"/>
              </a:ext>
            </a:extLst>
          </p:cNvPr>
          <p:cNvSpPr txBox="1"/>
          <p:nvPr/>
        </p:nvSpPr>
        <p:spPr>
          <a:xfrm>
            <a:off x="6763870" y="3918696"/>
            <a:ext cx="2776818" cy="1369606"/>
          </a:xfrm>
          <a:prstGeom prst="rect">
            <a:avLst/>
          </a:prstGeom>
          <a:noFill/>
        </p:spPr>
        <p:txBody>
          <a:bodyPr wrap="square" rtlCol="0">
            <a:spAutoFit/>
          </a:bodyPr>
          <a:lstStyle/>
          <a:p>
            <a:pPr lvl="4"/>
            <a:r>
              <a:rPr lang="en-CA" dirty="0">
                <a:solidFill>
                  <a:schemeClr val="bg1"/>
                </a:solidFill>
              </a:rPr>
              <a:t>Presented By: Group 5</a:t>
            </a:r>
          </a:p>
          <a:p>
            <a:pPr marL="285750" lvl="8" indent="-285750">
              <a:buClr>
                <a:schemeClr val="bg1"/>
              </a:buClr>
              <a:buFont typeface="Arial" panose="020B0604020202020204" pitchFamily="34" charset="0"/>
              <a:buChar char="•"/>
            </a:pPr>
            <a:r>
              <a:rPr lang="en-IN" sz="1100" dirty="0">
                <a:solidFill>
                  <a:schemeClr val="bg1"/>
                </a:solidFill>
              </a:rPr>
              <a:t>Aisha Syed</a:t>
            </a:r>
          </a:p>
          <a:p>
            <a:pPr marL="285750" lvl="8" indent="-285750">
              <a:buClr>
                <a:schemeClr val="bg1"/>
              </a:buClr>
              <a:buFont typeface="Arial" panose="020B0604020202020204" pitchFamily="34" charset="0"/>
              <a:buChar char="•"/>
            </a:pPr>
            <a:r>
              <a:rPr lang="en-IN" sz="1100" dirty="0">
                <a:solidFill>
                  <a:schemeClr val="bg1"/>
                </a:solidFill>
              </a:rPr>
              <a:t>Archana Narula</a:t>
            </a:r>
          </a:p>
          <a:p>
            <a:pPr marL="285750" lvl="8" indent="-285750">
              <a:buClr>
                <a:schemeClr val="bg1"/>
              </a:buClr>
              <a:buFont typeface="Arial" panose="020B0604020202020204" pitchFamily="34" charset="0"/>
              <a:buChar char="•"/>
            </a:pPr>
            <a:r>
              <a:rPr lang="en-IN" sz="1100" dirty="0">
                <a:solidFill>
                  <a:schemeClr val="bg1"/>
                </a:solidFill>
              </a:rPr>
              <a:t>Maria Leon</a:t>
            </a:r>
          </a:p>
          <a:p>
            <a:pPr marL="285750" lvl="8" indent="-285750">
              <a:buClr>
                <a:schemeClr val="bg1"/>
              </a:buClr>
              <a:buFont typeface="Arial" panose="020B0604020202020204" pitchFamily="34" charset="0"/>
              <a:buChar char="•"/>
            </a:pPr>
            <a:r>
              <a:rPr lang="en-IN" sz="1100" dirty="0" err="1">
                <a:solidFill>
                  <a:schemeClr val="bg1"/>
                </a:solidFill>
              </a:rPr>
              <a:t>Sushmitha</a:t>
            </a:r>
            <a:r>
              <a:rPr lang="en-IN" sz="1100" dirty="0">
                <a:solidFill>
                  <a:schemeClr val="bg1"/>
                </a:solidFill>
              </a:rPr>
              <a:t> </a:t>
            </a:r>
            <a:r>
              <a:rPr lang="en-IN" sz="1100" dirty="0" err="1">
                <a:solidFill>
                  <a:schemeClr val="bg1"/>
                </a:solidFill>
              </a:rPr>
              <a:t>Maddali</a:t>
            </a:r>
            <a:endParaRPr lang="en-IN" sz="1100" dirty="0">
              <a:solidFill>
                <a:schemeClr val="bg1"/>
              </a:solidFill>
            </a:endParaRPr>
          </a:p>
          <a:p>
            <a:pPr marL="285750" lvl="8" indent="-285750">
              <a:buClr>
                <a:schemeClr val="bg1"/>
              </a:buClr>
              <a:buFont typeface="Arial" panose="020B0604020202020204" pitchFamily="34" charset="0"/>
              <a:buChar char="•"/>
            </a:pPr>
            <a:r>
              <a:rPr lang="en-IN" sz="1100" dirty="0">
                <a:solidFill>
                  <a:schemeClr val="bg1"/>
                </a:solidFill>
              </a:rPr>
              <a:t>Kushal Sharma</a:t>
            </a:r>
          </a:p>
          <a:p>
            <a:endParaRPr lang="en-CA"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DC536AD-EAC7-4EEF-AAC8-D889F4AA3E2D}"/>
              </a:ext>
            </a:extLst>
          </p:cNvPr>
          <p:cNvGrpSpPr/>
          <p:nvPr/>
        </p:nvGrpSpPr>
        <p:grpSpPr>
          <a:xfrm>
            <a:off x="1041489" y="358687"/>
            <a:ext cx="6789008" cy="2587681"/>
            <a:chOff x="1041489" y="358687"/>
            <a:chExt cx="6789008" cy="2587681"/>
          </a:xfrm>
        </p:grpSpPr>
        <p:sp>
          <p:nvSpPr>
            <p:cNvPr id="4" name="Oval 3">
              <a:extLst>
                <a:ext uri="{FF2B5EF4-FFF2-40B4-BE49-F238E27FC236}">
                  <a16:creationId xmlns:a16="http://schemas.microsoft.com/office/drawing/2014/main" id="{6E890117-ACAD-4506-B42A-EC57BD570EB7}"/>
                </a:ext>
              </a:extLst>
            </p:cNvPr>
            <p:cNvSpPr/>
            <p:nvPr/>
          </p:nvSpPr>
          <p:spPr>
            <a:xfrm>
              <a:off x="1041489" y="358687"/>
              <a:ext cx="6789008" cy="2587681"/>
            </a:xfrm>
            <a:prstGeom prst="ellipse">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6" name="Graphic 5" descr="Right pointing backhand index">
              <a:extLst>
                <a:ext uri="{FF2B5EF4-FFF2-40B4-BE49-F238E27FC236}">
                  <a16:creationId xmlns:a16="http://schemas.microsoft.com/office/drawing/2014/main" id="{0E2ED53E-1617-4E0F-97BC-69733C1F05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67695" y="1078871"/>
              <a:ext cx="419997" cy="405257"/>
            </a:xfrm>
            <a:prstGeom prst="rect">
              <a:avLst/>
            </a:prstGeom>
          </p:spPr>
        </p:pic>
        <p:pic>
          <p:nvPicPr>
            <p:cNvPr id="12" name="Graphic 11" descr="Checkmark">
              <a:extLst>
                <a:ext uri="{FF2B5EF4-FFF2-40B4-BE49-F238E27FC236}">
                  <a16:creationId xmlns:a16="http://schemas.microsoft.com/office/drawing/2014/main" id="{DBA01787-3FC4-43C5-B421-06F94CC4CB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92175" y="1136190"/>
              <a:ext cx="419997" cy="405257"/>
            </a:xfrm>
            <a:prstGeom prst="rect">
              <a:avLst/>
            </a:prstGeom>
          </p:spPr>
        </p:pic>
      </p:grpSp>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sz="3200" dirty="0"/>
              <a:t>Regression Models </a:t>
            </a:r>
            <a:r>
              <a:rPr lang="en-CA" sz="1800" dirty="0"/>
              <a:t>(Train on 13.5 months data , Test on 1 month data) </a:t>
            </a:r>
          </a:p>
        </p:txBody>
      </p:sp>
      <p:graphicFrame>
        <p:nvGraphicFramePr>
          <p:cNvPr id="8" name="Table 7">
            <a:extLst>
              <a:ext uri="{FF2B5EF4-FFF2-40B4-BE49-F238E27FC236}">
                <a16:creationId xmlns:a16="http://schemas.microsoft.com/office/drawing/2014/main" id="{1906C6DB-927E-45F6-8418-ADA1724CC545}"/>
              </a:ext>
            </a:extLst>
          </p:cNvPr>
          <p:cNvGraphicFramePr>
            <a:graphicFrameLocks noGrp="1"/>
          </p:cNvGraphicFramePr>
          <p:nvPr>
            <p:extLst>
              <p:ext uri="{D42A27DB-BD31-4B8C-83A1-F6EECF244321}">
                <p14:modId xmlns:p14="http://schemas.microsoft.com/office/powerpoint/2010/main" val="2186572723"/>
              </p:ext>
            </p:extLst>
          </p:nvPr>
        </p:nvGraphicFramePr>
        <p:xfrm>
          <a:off x="2408188" y="785714"/>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Both Cities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6.2094580769111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376075626252173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64739654 -0.0822273  -9.7884102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32.8839039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9" name="Table 8">
            <a:extLst>
              <a:ext uri="{FF2B5EF4-FFF2-40B4-BE49-F238E27FC236}">
                <a16:creationId xmlns:a16="http://schemas.microsoft.com/office/drawing/2014/main" id="{73548224-FA08-4668-BF74-75D384417AF6}"/>
              </a:ext>
            </a:extLst>
          </p:cNvPr>
          <p:cNvGraphicFramePr>
            <a:graphicFrameLocks noGrp="1"/>
          </p:cNvGraphicFramePr>
          <p:nvPr>
            <p:extLst>
              <p:ext uri="{D42A27DB-BD31-4B8C-83A1-F6EECF244321}">
                <p14:modId xmlns:p14="http://schemas.microsoft.com/office/powerpoint/2010/main" val="1874718735"/>
              </p:ext>
            </p:extLst>
          </p:nvPr>
        </p:nvGraphicFramePr>
        <p:xfrm>
          <a:off x="124835"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NY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2.08101841070210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991735807163029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78024612  0.11119185]]</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2.3562953]</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10" name="Table 9">
            <a:extLst>
              <a:ext uri="{FF2B5EF4-FFF2-40B4-BE49-F238E27FC236}">
                <a16:creationId xmlns:a16="http://schemas.microsoft.com/office/drawing/2014/main" id="{621A4BEB-D728-4D1A-8C4D-3A9228C536CA}"/>
              </a:ext>
            </a:extLst>
          </p:cNvPr>
          <p:cNvGraphicFramePr>
            <a:graphicFrameLocks noGrp="1"/>
          </p:cNvGraphicFramePr>
          <p:nvPr>
            <p:extLst>
              <p:ext uri="{D42A27DB-BD31-4B8C-83A1-F6EECF244321}">
                <p14:modId xmlns:p14="http://schemas.microsoft.com/office/powerpoint/2010/main" val="3365760966"/>
              </p:ext>
            </p:extLst>
          </p:nvPr>
        </p:nvGraphicFramePr>
        <p:xfrm>
          <a:off x="4656188"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s on Sao Paulo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12.9900022317661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7.688498736632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6097288  -0.5764793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1.8576319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pSp>
        <p:nvGrpSpPr>
          <p:cNvPr id="3" name="Group 2">
            <a:extLst>
              <a:ext uri="{FF2B5EF4-FFF2-40B4-BE49-F238E27FC236}">
                <a16:creationId xmlns:a16="http://schemas.microsoft.com/office/drawing/2014/main" id="{905B9361-4499-4E59-93D9-28ED2308DF6B}"/>
              </a:ext>
            </a:extLst>
          </p:cNvPr>
          <p:cNvGrpSpPr/>
          <p:nvPr/>
        </p:nvGrpSpPr>
        <p:grpSpPr>
          <a:xfrm>
            <a:off x="1835524" y="804060"/>
            <a:ext cx="440391" cy="386005"/>
            <a:chOff x="1835524" y="804060"/>
            <a:chExt cx="440391" cy="386005"/>
          </a:xfrm>
        </p:grpSpPr>
        <p:sp>
          <p:nvSpPr>
            <p:cNvPr id="11" name="Flowchart: Connector 10">
              <a:extLst>
                <a:ext uri="{FF2B5EF4-FFF2-40B4-BE49-F238E27FC236}">
                  <a16:creationId xmlns:a16="http://schemas.microsoft.com/office/drawing/2014/main" id="{979A4164-0506-4EB3-8F21-A5CFE2703585}"/>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 name="TextBox 1">
              <a:extLst>
                <a:ext uri="{FF2B5EF4-FFF2-40B4-BE49-F238E27FC236}">
                  <a16:creationId xmlns:a16="http://schemas.microsoft.com/office/drawing/2014/main" id="{42B93640-1E2D-4AD9-BCB5-AD74498C9D9E}"/>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1a</a:t>
              </a:r>
              <a:endParaRPr lang="en-CA" dirty="0">
                <a:solidFill>
                  <a:schemeClr val="bg1"/>
                </a:solidFill>
                <a:latin typeface="Abel" panose="020B0604020202020204" charset="0"/>
              </a:endParaRPr>
            </a:p>
          </p:txBody>
        </p:sp>
      </p:grpSp>
      <p:grpSp>
        <p:nvGrpSpPr>
          <p:cNvPr id="17" name="Group 16">
            <a:extLst>
              <a:ext uri="{FF2B5EF4-FFF2-40B4-BE49-F238E27FC236}">
                <a16:creationId xmlns:a16="http://schemas.microsoft.com/office/drawing/2014/main" id="{5BD8ED06-06B4-42A3-BC3A-4EB7F6864D2E}"/>
              </a:ext>
            </a:extLst>
          </p:cNvPr>
          <p:cNvGrpSpPr/>
          <p:nvPr/>
        </p:nvGrpSpPr>
        <p:grpSpPr>
          <a:xfrm>
            <a:off x="172571" y="2532241"/>
            <a:ext cx="440391" cy="386005"/>
            <a:chOff x="1835524" y="804060"/>
            <a:chExt cx="440391" cy="386005"/>
          </a:xfrm>
        </p:grpSpPr>
        <p:sp>
          <p:nvSpPr>
            <p:cNvPr id="18" name="Flowchart: Connector 17">
              <a:extLst>
                <a:ext uri="{FF2B5EF4-FFF2-40B4-BE49-F238E27FC236}">
                  <a16:creationId xmlns:a16="http://schemas.microsoft.com/office/drawing/2014/main" id="{5115617A-5B49-482B-82D0-C36CF2B73B1E}"/>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0" name="TextBox 19">
              <a:extLst>
                <a:ext uri="{FF2B5EF4-FFF2-40B4-BE49-F238E27FC236}">
                  <a16:creationId xmlns:a16="http://schemas.microsoft.com/office/drawing/2014/main" id="{1C2BD4A8-69DD-4EF7-AE4F-B652B9EB7F4C}"/>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2a</a:t>
              </a:r>
              <a:endParaRPr lang="en-CA" dirty="0">
                <a:solidFill>
                  <a:schemeClr val="bg1"/>
                </a:solidFill>
                <a:latin typeface="Abel" panose="020B0604020202020204" charset="0"/>
              </a:endParaRPr>
            </a:p>
          </p:txBody>
        </p:sp>
      </p:grpSp>
      <p:grpSp>
        <p:nvGrpSpPr>
          <p:cNvPr id="22" name="Group 21">
            <a:extLst>
              <a:ext uri="{FF2B5EF4-FFF2-40B4-BE49-F238E27FC236}">
                <a16:creationId xmlns:a16="http://schemas.microsoft.com/office/drawing/2014/main" id="{D0951220-CF1B-4B7B-B5CD-6AFBFDC41CE8}"/>
              </a:ext>
            </a:extLst>
          </p:cNvPr>
          <p:cNvGrpSpPr/>
          <p:nvPr/>
        </p:nvGrpSpPr>
        <p:grpSpPr>
          <a:xfrm>
            <a:off x="8259024" y="2493126"/>
            <a:ext cx="440391" cy="386005"/>
            <a:chOff x="1835524" y="804060"/>
            <a:chExt cx="440391" cy="386005"/>
          </a:xfrm>
        </p:grpSpPr>
        <p:sp>
          <p:nvSpPr>
            <p:cNvPr id="23" name="Flowchart: Connector 22">
              <a:extLst>
                <a:ext uri="{FF2B5EF4-FFF2-40B4-BE49-F238E27FC236}">
                  <a16:creationId xmlns:a16="http://schemas.microsoft.com/office/drawing/2014/main" id="{05B9B268-D364-4FBF-B498-69BA9EB1FB60}"/>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4" name="TextBox 23">
              <a:extLst>
                <a:ext uri="{FF2B5EF4-FFF2-40B4-BE49-F238E27FC236}">
                  <a16:creationId xmlns:a16="http://schemas.microsoft.com/office/drawing/2014/main" id="{63F7A047-E814-4725-BAF9-2834FF66D820}"/>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3a</a:t>
              </a:r>
              <a:endParaRPr lang="en-CA" dirty="0">
                <a:solidFill>
                  <a:schemeClr val="bg1"/>
                </a:solidFill>
                <a:latin typeface="Abel" panose="020B0604020202020204" charset="0"/>
              </a:endParaRPr>
            </a:p>
          </p:txBody>
        </p:sp>
      </p:grpSp>
      <p:pic>
        <p:nvPicPr>
          <p:cNvPr id="19" name="Graphic 18" descr="Close">
            <a:extLst>
              <a:ext uri="{FF2B5EF4-FFF2-40B4-BE49-F238E27FC236}">
                <a16:creationId xmlns:a16="http://schemas.microsoft.com/office/drawing/2014/main" id="{F423D38A-6ADE-49B1-9B6E-519D033D59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8049" y="2520681"/>
            <a:ext cx="436869" cy="436869"/>
          </a:xfrm>
          <a:prstGeom prst="rect">
            <a:avLst/>
          </a:prstGeom>
        </p:spPr>
      </p:pic>
      <p:pic>
        <p:nvPicPr>
          <p:cNvPr id="25" name="Graphic 24" descr="Close">
            <a:extLst>
              <a:ext uri="{FF2B5EF4-FFF2-40B4-BE49-F238E27FC236}">
                <a16:creationId xmlns:a16="http://schemas.microsoft.com/office/drawing/2014/main" id="{FC8FEE15-3446-44FB-A518-B82FC1874B8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84076" y="2481377"/>
            <a:ext cx="436869" cy="436869"/>
          </a:xfrm>
          <a:prstGeom prst="rect">
            <a:avLst/>
          </a:prstGeom>
        </p:spPr>
      </p:pic>
    </p:spTree>
    <p:extLst>
      <p:ext uri="{BB962C8B-B14F-4D97-AF65-F5344CB8AC3E}">
        <p14:creationId xmlns:p14="http://schemas.microsoft.com/office/powerpoint/2010/main" val="40084253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Conclusion</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124834" y="1475511"/>
            <a:ext cx="8563200" cy="1046410"/>
          </a:xfrm>
          <a:prstGeom prst="rect">
            <a:avLst/>
          </a:prstGeom>
          <a:noFill/>
          <a:ln>
            <a:noFill/>
          </a:ln>
        </p:spPr>
        <p:txBody>
          <a:bodyPr spcFirstLastPara="1" wrap="square" lIns="91425" tIns="91425" rIns="91425" bIns="91425" anchor="t" anchorCtr="0">
            <a:spAutoFit/>
          </a:bodyPr>
          <a:lstStyle/>
          <a:p>
            <a:pPr marL="285750" lvl="0" indent="-285750" rtl="0">
              <a:spcBef>
                <a:spcPts val="0"/>
              </a:spcBef>
              <a:spcAft>
                <a:spcPts val="0"/>
              </a:spcAft>
              <a:buFont typeface="Arial" panose="020B0604020202020204" pitchFamily="34" charset="0"/>
              <a:buChar char="•"/>
            </a:pPr>
            <a:r>
              <a:rPr lang="en" dirty="0">
                <a:solidFill>
                  <a:schemeClr val="bg1"/>
                </a:solidFill>
              </a:rPr>
              <a:t>p vlaues and co-relation showed a relationship between temperate and covid19 new cases</a:t>
            </a:r>
          </a:p>
          <a:p>
            <a:pPr marL="285750" lvl="0" indent="-285750" rtl="0">
              <a:spcBef>
                <a:spcPts val="0"/>
              </a:spcBef>
              <a:spcAft>
                <a:spcPts val="0"/>
              </a:spcAft>
              <a:buFont typeface="Arial" panose="020B0604020202020204" pitchFamily="34" charset="0"/>
              <a:buChar char="•"/>
            </a:pPr>
            <a:r>
              <a:rPr lang="en" dirty="0">
                <a:solidFill>
                  <a:schemeClr val="bg1"/>
                </a:solidFill>
              </a:rPr>
              <a:t>Low R-squared value (37%) means our model is not stong yet. Require further ehancment using either additonal data and/or other methodologies</a:t>
            </a:r>
          </a:p>
          <a:p>
            <a:pPr lvl="0" rtl="0">
              <a:spcBef>
                <a:spcPts val="0"/>
              </a:spcBef>
              <a:spcAft>
                <a:spcPts val="0"/>
              </a:spcAft>
            </a:pPr>
            <a:endParaRPr dirty="0">
              <a:solidFill>
                <a:schemeClr val="bg1"/>
              </a:solidFill>
            </a:endParaRPr>
          </a:p>
        </p:txBody>
      </p:sp>
    </p:spTree>
    <p:extLst>
      <p:ext uri="{BB962C8B-B14F-4D97-AF65-F5344CB8AC3E}">
        <p14:creationId xmlns:p14="http://schemas.microsoft.com/office/powerpoint/2010/main" val="1508621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commendations to project expansion</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238521" y="910630"/>
            <a:ext cx="8563200" cy="2339072"/>
          </a:xfrm>
          <a:prstGeom prst="rect">
            <a:avLst/>
          </a:prstGeom>
          <a:noFill/>
          <a:ln>
            <a:noFill/>
          </a:ln>
        </p:spPr>
        <p:txBody>
          <a:bodyPr spcFirstLastPara="1" wrap="square" lIns="91425" tIns="91425" rIns="91425" bIns="91425" anchor="t" anchorCtr="0">
            <a:spAutoFit/>
          </a:bodyPr>
          <a:lstStyle/>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emove impact of other variables e.g.</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vaccination rate</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the positive cases related to Brazilian mutant, which spread faster than the original.</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Active cases in the city</a:t>
            </a:r>
          </a:p>
          <a:p>
            <a:pPr marL="882650" lvl="1" indent="-285750" algn="l" rtl="0">
              <a:spcBef>
                <a:spcPts val="0"/>
              </a:spcBef>
              <a:spcAft>
                <a:spcPts val="0"/>
              </a:spcAft>
              <a:buClr>
                <a:schemeClr val="bg1"/>
              </a:buClr>
              <a:buSzPts val="14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un the analysis using additional city data with similar cities.</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Add more cities with diverse conditions to understand the behavior of Covid cases compare to different temperatures</a:t>
            </a:r>
          </a:p>
          <a:p>
            <a:pPr marL="882650" lvl="1" indent="-285750" algn="l" rtl="0">
              <a:spcBef>
                <a:spcPts val="0"/>
              </a:spcBef>
              <a:spcAft>
                <a:spcPts val="0"/>
              </a:spcAft>
              <a:buClr>
                <a:schemeClr val="bg1"/>
              </a:buClr>
              <a:buSzPts val="14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Use time series methodologies on the new cases variable before running the regression</a:t>
            </a:r>
          </a:p>
        </p:txBody>
      </p:sp>
    </p:spTree>
    <p:extLst>
      <p:ext uri="{BB962C8B-B14F-4D97-AF65-F5344CB8AC3E}">
        <p14:creationId xmlns:p14="http://schemas.microsoft.com/office/powerpoint/2010/main" val="57495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43"/>
        <p:cNvGrpSpPr/>
        <p:nvPr/>
      </p:nvGrpSpPr>
      <p:grpSpPr>
        <a:xfrm>
          <a:off x="0" y="0"/>
          <a:ext cx="0" cy="0"/>
          <a:chOff x="0" y="0"/>
          <a:chExt cx="0" cy="0"/>
        </a:xfrm>
      </p:grpSpPr>
      <p:sp>
        <p:nvSpPr>
          <p:cNvPr id="644" name="Google Shape;644;p46"/>
          <p:cNvSpPr txBox="1">
            <a:spLocks noGrp="1"/>
          </p:cNvSpPr>
          <p:nvPr>
            <p:ph type="title"/>
          </p:nvPr>
        </p:nvSpPr>
        <p:spPr>
          <a:xfrm>
            <a:off x="307434" y="0"/>
            <a:ext cx="6373800" cy="6651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dirty="0"/>
              <a:t>Team</a:t>
            </a:r>
            <a:endParaRPr dirty="0"/>
          </a:p>
        </p:txBody>
      </p:sp>
      <p:sp>
        <p:nvSpPr>
          <p:cNvPr id="645" name="Google Shape;645;p46"/>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13</a:t>
            </a:fld>
            <a:endParaRPr/>
          </a:p>
        </p:txBody>
      </p:sp>
      <p:sp>
        <p:nvSpPr>
          <p:cNvPr id="647" name="Google Shape;647;p46"/>
          <p:cNvSpPr txBox="1"/>
          <p:nvPr/>
        </p:nvSpPr>
        <p:spPr>
          <a:xfrm>
            <a:off x="1769166" y="1080980"/>
            <a:ext cx="2802833" cy="984039"/>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Aisha Syed</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hlinkClick r:id="rId3"/>
              </a:rPr>
              <a:t>https://www.linkedin.com/in/aisha-syed-27506a5/</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aishamazhar@hot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sp>
        <p:nvSpPr>
          <p:cNvPr id="18" name="Google Shape;647;p46">
            <a:extLst>
              <a:ext uri="{FF2B5EF4-FFF2-40B4-BE49-F238E27FC236}">
                <a16:creationId xmlns:a16="http://schemas.microsoft.com/office/drawing/2014/main" id="{FDB8ADE6-D785-451D-B50A-7A9DC5CCCB18}"/>
              </a:ext>
            </a:extLst>
          </p:cNvPr>
          <p:cNvSpPr txBox="1"/>
          <p:nvPr/>
        </p:nvSpPr>
        <p:spPr>
          <a:xfrm>
            <a:off x="1769166" y="2392251"/>
            <a:ext cx="3252414"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Archana Narula</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archana-thakur-narula-536b055/</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archanatnarul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dirty="0">
              <a:solidFill>
                <a:schemeClr val="lt1"/>
              </a:solidFill>
              <a:latin typeface="Encode Sans Semi Condensed"/>
              <a:ea typeface="Encode Sans Semi Condensed"/>
              <a:cs typeface="Encode Sans Semi Condensed"/>
              <a:sym typeface="Encode Sans Semi Condensed"/>
            </a:endParaRPr>
          </a:p>
        </p:txBody>
      </p:sp>
      <p:sp>
        <p:nvSpPr>
          <p:cNvPr id="19" name="Google Shape;647;p46">
            <a:extLst>
              <a:ext uri="{FF2B5EF4-FFF2-40B4-BE49-F238E27FC236}">
                <a16:creationId xmlns:a16="http://schemas.microsoft.com/office/drawing/2014/main" id="{A5D539D2-40AD-4914-B99F-2F8367FF2ACB}"/>
              </a:ext>
            </a:extLst>
          </p:cNvPr>
          <p:cNvSpPr txBox="1"/>
          <p:nvPr/>
        </p:nvSpPr>
        <p:spPr>
          <a:xfrm>
            <a:off x="6657614" y="1090047"/>
            <a:ext cx="2486385"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Sushmitha Maddali</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sushmitha-maddali</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maddalisushmith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sp>
        <p:nvSpPr>
          <p:cNvPr id="20" name="Google Shape;647;p46">
            <a:extLst>
              <a:ext uri="{FF2B5EF4-FFF2-40B4-BE49-F238E27FC236}">
                <a16:creationId xmlns:a16="http://schemas.microsoft.com/office/drawing/2014/main" id="{A1D5A4D3-8AB5-4CF5-BB5F-943CA9C6E0AD}"/>
              </a:ext>
            </a:extLst>
          </p:cNvPr>
          <p:cNvSpPr txBox="1"/>
          <p:nvPr/>
        </p:nvSpPr>
        <p:spPr>
          <a:xfrm>
            <a:off x="6681234" y="2465576"/>
            <a:ext cx="2092920"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Kushal Sharma</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kushca</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kushalsharma.c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dirty="0">
              <a:solidFill>
                <a:schemeClr val="lt1"/>
              </a:solidFill>
              <a:latin typeface="Encode Sans Semi Condensed"/>
              <a:ea typeface="Encode Sans Semi Condensed"/>
              <a:cs typeface="Encode Sans Semi Condensed"/>
              <a:sym typeface="Encode Sans Semi Condensed"/>
            </a:endParaRPr>
          </a:p>
        </p:txBody>
      </p:sp>
      <p:sp>
        <p:nvSpPr>
          <p:cNvPr id="21" name="Google Shape;647;p46">
            <a:extLst>
              <a:ext uri="{FF2B5EF4-FFF2-40B4-BE49-F238E27FC236}">
                <a16:creationId xmlns:a16="http://schemas.microsoft.com/office/drawing/2014/main" id="{D1010E93-99E3-4E36-A375-DD352C29C491}"/>
              </a:ext>
            </a:extLst>
          </p:cNvPr>
          <p:cNvSpPr txBox="1"/>
          <p:nvPr/>
        </p:nvSpPr>
        <p:spPr>
          <a:xfrm>
            <a:off x="1829679" y="3909476"/>
            <a:ext cx="2399420"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Maria Leon</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marialeon2009/ </a:t>
            </a:r>
            <a:br>
              <a:rPr lang="en-IN" sz="1000" u="sng" dirty="0">
                <a:solidFill>
                  <a:schemeClr val="hlink"/>
                </a:solidFill>
                <a:latin typeface="Abel" panose="020B0604020202020204" charset="0"/>
                <a:ea typeface="Verdana" panose="020B0604030504040204" pitchFamily="34" charset="0"/>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marietas2009@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algn="ctr"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pic>
        <p:nvPicPr>
          <p:cNvPr id="7" name="Picture 6">
            <a:extLst>
              <a:ext uri="{FF2B5EF4-FFF2-40B4-BE49-F238E27FC236}">
                <a16:creationId xmlns:a16="http://schemas.microsoft.com/office/drawing/2014/main" id="{BBD1C7A5-C0CE-43EE-8ED0-3424D127B589}"/>
              </a:ext>
            </a:extLst>
          </p:cNvPr>
          <p:cNvPicPr>
            <a:picLocks noChangeAspect="1"/>
          </p:cNvPicPr>
          <p:nvPr/>
        </p:nvPicPr>
        <p:blipFill>
          <a:blip r:embed="rId4"/>
          <a:stretch>
            <a:fillRect/>
          </a:stretch>
        </p:blipFill>
        <p:spPr>
          <a:xfrm>
            <a:off x="293591" y="1016682"/>
            <a:ext cx="1371791" cy="1195554"/>
          </a:xfrm>
          <a:prstGeom prst="rect">
            <a:avLst/>
          </a:prstGeom>
        </p:spPr>
      </p:pic>
      <p:pic>
        <p:nvPicPr>
          <p:cNvPr id="9" name="Picture 8">
            <a:extLst>
              <a:ext uri="{FF2B5EF4-FFF2-40B4-BE49-F238E27FC236}">
                <a16:creationId xmlns:a16="http://schemas.microsoft.com/office/drawing/2014/main" id="{FBABFA1B-028C-4352-9B93-1B4F8A747F92}"/>
              </a:ext>
            </a:extLst>
          </p:cNvPr>
          <p:cNvPicPr>
            <a:picLocks noChangeAspect="1"/>
          </p:cNvPicPr>
          <p:nvPr/>
        </p:nvPicPr>
        <p:blipFill>
          <a:blip r:embed="rId5"/>
          <a:stretch>
            <a:fillRect/>
          </a:stretch>
        </p:blipFill>
        <p:spPr>
          <a:xfrm>
            <a:off x="280513" y="2349821"/>
            <a:ext cx="1397946" cy="1192914"/>
          </a:xfrm>
          <a:prstGeom prst="rect">
            <a:avLst/>
          </a:prstGeom>
        </p:spPr>
      </p:pic>
      <p:pic>
        <p:nvPicPr>
          <p:cNvPr id="11" name="Picture 10">
            <a:extLst>
              <a:ext uri="{FF2B5EF4-FFF2-40B4-BE49-F238E27FC236}">
                <a16:creationId xmlns:a16="http://schemas.microsoft.com/office/drawing/2014/main" id="{E8BFE2AC-FDF7-42DC-88C4-0B36E6FC0482}"/>
              </a:ext>
            </a:extLst>
          </p:cNvPr>
          <p:cNvPicPr>
            <a:picLocks noChangeAspect="1"/>
          </p:cNvPicPr>
          <p:nvPr/>
        </p:nvPicPr>
        <p:blipFill>
          <a:blip r:embed="rId6"/>
          <a:stretch>
            <a:fillRect/>
          </a:stretch>
        </p:blipFill>
        <p:spPr>
          <a:xfrm>
            <a:off x="383634" y="3640830"/>
            <a:ext cx="1059063" cy="1426421"/>
          </a:xfrm>
          <a:prstGeom prst="rect">
            <a:avLst/>
          </a:prstGeom>
        </p:spPr>
      </p:pic>
      <p:pic>
        <p:nvPicPr>
          <p:cNvPr id="15" name="Picture 14">
            <a:extLst>
              <a:ext uri="{FF2B5EF4-FFF2-40B4-BE49-F238E27FC236}">
                <a16:creationId xmlns:a16="http://schemas.microsoft.com/office/drawing/2014/main" id="{B6D99082-AC2F-44A8-B9CA-8B0E9D268117}"/>
              </a:ext>
            </a:extLst>
          </p:cNvPr>
          <p:cNvPicPr>
            <a:picLocks noChangeAspect="1"/>
          </p:cNvPicPr>
          <p:nvPr/>
        </p:nvPicPr>
        <p:blipFill>
          <a:blip r:embed="rId7"/>
          <a:stretch>
            <a:fillRect/>
          </a:stretch>
        </p:blipFill>
        <p:spPr>
          <a:xfrm>
            <a:off x="5252151" y="1080981"/>
            <a:ext cx="1252668" cy="1200200"/>
          </a:xfrm>
          <a:prstGeom prst="rect">
            <a:avLst/>
          </a:prstGeom>
        </p:spPr>
      </p:pic>
      <p:pic>
        <p:nvPicPr>
          <p:cNvPr id="17" name="Picture 16">
            <a:extLst>
              <a:ext uri="{FF2B5EF4-FFF2-40B4-BE49-F238E27FC236}">
                <a16:creationId xmlns:a16="http://schemas.microsoft.com/office/drawing/2014/main" id="{4586054D-6C65-433D-82D5-2F6437CAEF9E}"/>
              </a:ext>
            </a:extLst>
          </p:cNvPr>
          <p:cNvPicPr>
            <a:picLocks noChangeAspect="1"/>
          </p:cNvPicPr>
          <p:nvPr/>
        </p:nvPicPr>
        <p:blipFill>
          <a:blip r:embed="rId8"/>
          <a:stretch>
            <a:fillRect/>
          </a:stretch>
        </p:blipFill>
        <p:spPr>
          <a:xfrm>
            <a:off x="5199312" y="2392251"/>
            <a:ext cx="1358345" cy="1150484"/>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40" name="Google Shape;440;p36"/>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14</a:t>
            </a:fld>
            <a:endParaRPr/>
          </a:p>
        </p:txBody>
      </p:sp>
      <p:pic>
        <p:nvPicPr>
          <p:cNvPr id="3" name="Picture 2">
            <a:extLst>
              <a:ext uri="{FF2B5EF4-FFF2-40B4-BE49-F238E27FC236}">
                <a16:creationId xmlns:a16="http://schemas.microsoft.com/office/drawing/2014/main" id="{A5583650-4C33-47CF-9A45-5E21D1C8157A}"/>
              </a:ext>
            </a:extLst>
          </p:cNvPr>
          <p:cNvPicPr>
            <a:picLocks noChangeAspect="1"/>
          </p:cNvPicPr>
          <p:nvPr/>
        </p:nvPicPr>
        <p:blipFill>
          <a:blip r:embed="rId3"/>
          <a:stretch>
            <a:fillRect/>
          </a:stretch>
        </p:blipFill>
        <p:spPr>
          <a:xfrm>
            <a:off x="1880614" y="522672"/>
            <a:ext cx="5154172" cy="3734259"/>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62"/>
        <p:cNvGrpSpPr/>
        <p:nvPr/>
      </p:nvGrpSpPr>
      <p:grpSpPr>
        <a:xfrm>
          <a:off x="0" y="0"/>
          <a:ext cx="0" cy="0"/>
          <a:chOff x="0" y="0"/>
          <a:chExt cx="0" cy="0"/>
        </a:xfrm>
      </p:grpSpPr>
      <p:sp>
        <p:nvSpPr>
          <p:cNvPr id="463" name="Google Shape;463;p39"/>
          <p:cNvSpPr txBox="1">
            <a:spLocks noGrp="1"/>
          </p:cNvSpPr>
          <p:nvPr>
            <p:ph type="ctrTitle"/>
          </p:nvPr>
        </p:nvSpPr>
        <p:spPr>
          <a:xfrm>
            <a:off x="514800" y="2025550"/>
            <a:ext cx="8114400" cy="655800"/>
          </a:xfrm>
          <a:prstGeom prst="rect">
            <a:avLst/>
          </a:prstGeom>
        </p:spPr>
        <p:txBody>
          <a:bodyPr spcFirstLastPara="1" wrap="square" lIns="0" tIns="0" rIns="0" bIns="0" anchor="b" anchorCtr="0">
            <a:noAutofit/>
          </a:bodyPr>
          <a:lstStyle/>
          <a:p>
            <a:pPr marL="0" lvl="0" indent="0" algn="l" rtl="0">
              <a:spcBef>
                <a:spcPts val="0"/>
              </a:spcBef>
              <a:spcAft>
                <a:spcPts val="0"/>
              </a:spcAft>
              <a:buNone/>
            </a:pPr>
            <a:r>
              <a:rPr lang="en" dirty="0"/>
              <a:t>Appendix: Extra Resources</a:t>
            </a:r>
            <a:endParaRPr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620A8116-812F-41CA-B5C7-D52542EDA9EA}"/>
              </a:ext>
            </a:extLst>
          </p:cNvPr>
          <p:cNvSpPr/>
          <p:nvPr/>
        </p:nvSpPr>
        <p:spPr>
          <a:xfrm>
            <a:off x="5627594" y="1862418"/>
            <a:ext cx="3321424" cy="988358"/>
          </a:xfrm>
          <a:prstGeom prst="roundRect">
            <a:avLst/>
          </a:prstGeom>
          <a:solidFill>
            <a:schemeClr val="tx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ferences</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319198" y="1226636"/>
            <a:ext cx="4622596" cy="3139291"/>
          </a:xfrm>
          <a:prstGeom prst="rect">
            <a:avLst/>
          </a:prstGeom>
          <a:noFill/>
          <a:ln>
            <a:noFill/>
          </a:ln>
        </p:spPr>
        <p:txBody>
          <a:bodyPr spcFirstLastPara="1" wrap="square" lIns="91425" tIns="91425" rIns="91425" bIns="91425" anchor="t" anchorCtr="0">
            <a:spAutoFit/>
          </a:bodyPr>
          <a:lstStyle/>
          <a:p>
            <a:pPr marL="114300" indent="0">
              <a:lnSpc>
                <a:spcPct val="100000"/>
              </a:lnSpc>
              <a:buNone/>
            </a:pPr>
            <a:r>
              <a:rPr lang="en-US" sz="1200" dirty="0">
                <a:solidFill>
                  <a:schemeClr val="bg1"/>
                </a:solidFill>
                <a:latin typeface="Abel" panose="020B0604020202020204" charset="0"/>
              </a:rPr>
              <a:t>[1] </a:t>
            </a:r>
            <a:r>
              <a:rPr lang="en-US" sz="1200" dirty="0" err="1">
                <a:solidFill>
                  <a:schemeClr val="bg1"/>
                </a:solidFill>
                <a:latin typeface="Abel" panose="020B0604020202020204" charset="0"/>
              </a:rPr>
              <a:t>Seade</a:t>
            </a:r>
            <a:r>
              <a:rPr lang="en-US" sz="1200" dirty="0">
                <a:solidFill>
                  <a:schemeClr val="bg1"/>
                </a:solidFill>
                <a:latin typeface="Abel" panose="020B0604020202020204" charset="0"/>
              </a:rPr>
              <a:t> Foundation Statistics Agency of the State of São Paulo </a:t>
            </a:r>
          </a:p>
          <a:p>
            <a:pPr marL="571500" lvl="1" indent="0">
              <a:lnSpc>
                <a:spcPct val="100000"/>
              </a:lnSpc>
              <a:buNone/>
            </a:pPr>
            <a:r>
              <a:rPr lang="en-US" sz="1200" dirty="0">
                <a:solidFill>
                  <a:schemeClr val="bg1"/>
                </a:solidFill>
                <a:latin typeface="Abel" panose="020B0604020202020204" charset="0"/>
                <a:hlinkClick r:id="rId3">
                  <a:extLst>
                    <a:ext uri="{A12FA001-AC4F-418D-AE19-62706E023703}">
                      <ahyp:hlinkClr xmlns:ahyp="http://schemas.microsoft.com/office/drawing/2018/hyperlinkcolor" val="tx"/>
                    </a:ext>
                  </a:extLst>
                </a:hlinkClick>
              </a:rPr>
              <a:t>https://saludata.saludcapital.gov.co/osb/index.php/datos-de-salud/enfermedades-trasmisibles/covid19/</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2] NYC Department of Health and Mental Hygiene </a:t>
            </a:r>
          </a:p>
          <a:p>
            <a:pPr marL="571500" lvl="1" indent="0">
              <a:lnSpc>
                <a:spcPct val="100000"/>
              </a:lnSpc>
              <a:buNone/>
            </a:pPr>
            <a:r>
              <a:rPr lang="en-US" sz="1200" dirty="0">
                <a:solidFill>
                  <a:schemeClr val="bg1"/>
                </a:solidFill>
                <a:latin typeface="Abel" panose="020B0604020202020204" charset="0"/>
                <a:hlinkClick r:id="rId4">
                  <a:extLst>
                    <a:ext uri="{A12FA001-AC4F-418D-AE19-62706E023703}">
                      <ahyp:hlinkClr xmlns:ahyp="http://schemas.microsoft.com/office/drawing/2018/hyperlinkcolor" val="tx"/>
                    </a:ext>
                  </a:extLst>
                </a:hlinkClick>
              </a:rPr>
              <a:t>https://github.com/nychealth/coronavirus-data</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3] Open Weather Map</a:t>
            </a:r>
          </a:p>
          <a:p>
            <a:pPr marL="571500" lvl="1" indent="0">
              <a:lnSpc>
                <a:spcPct val="100000"/>
              </a:lnSpc>
              <a:buNone/>
            </a:pPr>
            <a:r>
              <a:rPr lang="en-US" sz="1200" dirty="0">
                <a:solidFill>
                  <a:schemeClr val="bg1"/>
                </a:solidFill>
                <a:latin typeface="Abel" panose="020B0604020202020204" charset="0"/>
                <a:hlinkClick r:id="rId5">
                  <a:extLst>
                    <a:ext uri="{A12FA001-AC4F-418D-AE19-62706E023703}">
                      <ahyp:hlinkClr xmlns:ahyp="http://schemas.microsoft.com/office/drawing/2018/hyperlinkcolor" val="tx"/>
                    </a:ext>
                  </a:extLst>
                </a:hlinkClick>
              </a:rPr>
              <a:t>www.openweathermap.org</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4] Bogota Health Observatory</a:t>
            </a:r>
          </a:p>
          <a:p>
            <a:pPr marL="571500" lvl="1" indent="0">
              <a:lnSpc>
                <a:spcPct val="100000"/>
              </a:lnSpc>
              <a:buNone/>
            </a:pPr>
            <a:r>
              <a:rPr lang="en-US" sz="1200" dirty="0">
                <a:solidFill>
                  <a:schemeClr val="bg1"/>
                </a:solidFill>
                <a:latin typeface="Abel" panose="020B0604020202020204" charset="0"/>
                <a:hlinkClick r:id="rId3">
                  <a:extLst>
                    <a:ext uri="{A12FA001-AC4F-418D-AE19-62706E023703}">
                      <ahyp:hlinkClr xmlns:ahyp="http://schemas.microsoft.com/office/drawing/2018/hyperlinkcolor" val="tx"/>
                    </a:ext>
                  </a:extLst>
                </a:hlinkClick>
              </a:rPr>
              <a:t>https://saludata.saludcapital.gov.co/osb/index.php/datos-de-salud/enfermedades-trasmisibles/covid19/</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5] </a:t>
            </a:r>
            <a:r>
              <a:rPr lang="en-US" sz="1200" dirty="0" err="1">
                <a:solidFill>
                  <a:schemeClr val="bg1"/>
                </a:solidFill>
                <a:latin typeface="Abel" panose="020B0604020202020204" charset="0"/>
              </a:rPr>
              <a:t>wCota</a:t>
            </a:r>
            <a:r>
              <a:rPr lang="en-US" sz="1200" dirty="0">
                <a:solidFill>
                  <a:schemeClr val="bg1"/>
                </a:solidFill>
                <a:latin typeface="Abel" panose="020B0604020202020204" charset="0"/>
              </a:rPr>
              <a:t> </a:t>
            </a:r>
            <a:r>
              <a:rPr lang="en-US" sz="1200" dirty="0" err="1">
                <a:solidFill>
                  <a:schemeClr val="bg1"/>
                </a:solidFill>
                <a:latin typeface="Abel" panose="020B0604020202020204" charset="0"/>
              </a:rPr>
              <a:t>Github</a:t>
            </a:r>
            <a:r>
              <a:rPr lang="en-US" sz="1200" dirty="0">
                <a:solidFill>
                  <a:schemeClr val="bg1"/>
                </a:solidFill>
                <a:latin typeface="Abel" panose="020B0604020202020204" charset="0"/>
              </a:rPr>
              <a:t> </a:t>
            </a:r>
          </a:p>
          <a:p>
            <a:pPr marL="571500" lvl="1" indent="0">
              <a:lnSpc>
                <a:spcPct val="100000"/>
              </a:lnSpc>
              <a:buNone/>
            </a:pPr>
            <a:r>
              <a:rPr lang="en-US" sz="1200" dirty="0">
                <a:solidFill>
                  <a:schemeClr val="bg1"/>
                </a:solidFill>
                <a:latin typeface="Abel" panose="020B0604020202020204" charset="0"/>
                <a:hlinkClick r:id="rId6">
                  <a:extLst>
                    <a:ext uri="{A12FA001-AC4F-418D-AE19-62706E023703}">
                      <ahyp:hlinkClr xmlns:ahyp="http://schemas.microsoft.com/office/drawing/2018/hyperlinkcolor" val="tx"/>
                    </a:ext>
                  </a:extLst>
                </a:hlinkClick>
              </a:rPr>
              <a:t>https://github.com/wcota/covid19br</a:t>
            </a:r>
            <a:endParaRPr lang="en-US" sz="1200" dirty="0">
              <a:solidFill>
                <a:schemeClr val="bg1"/>
              </a:solidFill>
              <a:latin typeface="Abel" panose="020B0604020202020204" charset="0"/>
            </a:endParaRPr>
          </a:p>
        </p:txBody>
      </p:sp>
      <p:sp>
        <p:nvSpPr>
          <p:cNvPr id="5" name="TextBox 4">
            <a:extLst>
              <a:ext uri="{FF2B5EF4-FFF2-40B4-BE49-F238E27FC236}">
                <a16:creationId xmlns:a16="http://schemas.microsoft.com/office/drawing/2014/main" id="{C7A6EA2B-6D38-4B24-8D1D-17F168B04518}"/>
              </a:ext>
            </a:extLst>
          </p:cNvPr>
          <p:cNvSpPr txBox="1"/>
          <p:nvPr/>
        </p:nvSpPr>
        <p:spPr>
          <a:xfrm>
            <a:off x="319198" y="777573"/>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Data Sources</a:t>
            </a:r>
          </a:p>
        </p:txBody>
      </p:sp>
      <p:sp>
        <p:nvSpPr>
          <p:cNvPr id="6" name="TextBox 5">
            <a:extLst>
              <a:ext uri="{FF2B5EF4-FFF2-40B4-BE49-F238E27FC236}">
                <a16:creationId xmlns:a16="http://schemas.microsoft.com/office/drawing/2014/main" id="{40210C9C-2B22-4FC6-BD81-757DB54E1213}"/>
              </a:ext>
            </a:extLst>
          </p:cNvPr>
          <p:cNvSpPr txBox="1"/>
          <p:nvPr/>
        </p:nvSpPr>
        <p:spPr>
          <a:xfrm>
            <a:off x="5755342" y="1984037"/>
            <a:ext cx="3321424" cy="369332"/>
          </a:xfrm>
          <a:prstGeom prst="rect">
            <a:avLst/>
          </a:prstGeom>
          <a:noFill/>
        </p:spPr>
        <p:txBody>
          <a:bodyPr wrap="square" rtlCol="0">
            <a:spAutoFit/>
          </a:bodyPr>
          <a:lstStyle/>
          <a:p>
            <a:r>
              <a:rPr lang="en-US" sz="1800" b="1" dirty="0">
                <a:solidFill>
                  <a:schemeClr val="tx1"/>
                </a:solidFill>
                <a:latin typeface="Abel" panose="020B0604020202020204" charset="0"/>
                <a:cs typeface="Arial" panose="020B0604020202020204" pitchFamily="34" charset="0"/>
              </a:rPr>
              <a:t>GitHub Repository for Project Files</a:t>
            </a:r>
          </a:p>
        </p:txBody>
      </p:sp>
      <p:sp>
        <p:nvSpPr>
          <p:cNvPr id="7" name="TextBox 6">
            <a:extLst>
              <a:ext uri="{FF2B5EF4-FFF2-40B4-BE49-F238E27FC236}">
                <a16:creationId xmlns:a16="http://schemas.microsoft.com/office/drawing/2014/main" id="{3E54B210-3301-422F-BBEE-3B2D7FBB2418}"/>
              </a:ext>
            </a:extLst>
          </p:cNvPr>
          <p:cNvSpPr txBox="1"/>
          <p:nvPr/>
        </p:nvSpPr>
        <p:spPr>
          <a:xfrm>
            <a:off x="5822575" y="2356188"/>
            <a:ext cx="3321424" cy="276999"/>
          </a:xfrm>
          <a:prstGeom prst="rect">
            <a:avLst/>
          </a:prstGeom>
          <a:noFill/>
        </p:spPr>
        <p:txBody>
          <a:bodyPr wrap="square">
            <a:spAutoFit/>
          </a:bodyPr>
          <a:lstStyle/>
          <a:p>
            <a:r>
              <a:rPr lang="en-CA" sz="1200" b="1" u="sng" dirty="0">
                <a:solidFill>
                  <a:schemeClr val="tx1"/>
                </a:solidFill>
                <a:latin typeface="Abel" panose="020B0604020202020204" charset="0"/>
              </a:rPr>
              <a:t>https://github.com/archinarula/Group-5-Project</a:t>
            </a:r>
          </a:p>
        </p:txBody>
      </p:sp>
    </p:spTree>
    <p:extLst>
      <p:ext uri="{BB962C8B-B14F-4D97-AF65-F5344CB8AC3E}">
        <p14:creationId xmlns:p14="http://schemas.microsoft.com/office/powerpoint/2010/main" val="7188139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Heatmap of all Variables</a:t>
            </a:r>
            <a:endParaRPr lang="en-CA" sz="1800" dirty="0"/>
          </a:p>
        </p:txBody>
      </p:sp>
      <p:pic>
        <p:nvPicPr>
          <p:cNvPr id="3" name="Picture 2">
            <a:extLst>
              <a:ext uri="{FF2B5EF4-FFF2-40B4-BE49-F238E27FC236}">
                <a16:creationId xmlns:a16="http://schemas.microsoft.com/office/drawing/2014/main" id="{8A17A7B4-2B8E-4EBE-91C0-A9D742C3DBB7}"/>
              </a:ext>
            </a:extLst>
          </p:cNvPr>
          <p:cNvPicPr>
            <a:picLocks noChangeAspect="1"/>
          </p:cNvPicPr>
          <p:nvPr/>
        </p:nvPicPr>
        <p:blipFill>
          <a:blip r:embed="rId3"/>
          <a:stretch>
            <a:fillRect/>
          </a:stretch>
        </p:blipFill>
        <p:spPr>
          <a:xfrm>
            <a:off x="1372385" y="820045"/>
            <a:ext cx="6110904" cy="4101578"/>
          </a:xfrm>
          <a:prstGeom prst="rect">
            <a:avLst/>
          </a:prstGeom>
        </p:spPr>
      </p:pic>
    </p:spTree>
    <p:extLst>
      <p:ext uri="{BB962C8B-B14F-4D97-AF65-F5344CB8AC3E}">
        <p14:creationId xmlns:p14="http://schemas.microsoft.com/office/powerpoint/2010/main" val="828199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sz="3200" dirty="0"/>
              <a:t>Regression Models </a:t>
            </a:r>
            <a:r>
              <a:rPr lang="en-CA" sz="1800" dirty="0"/>
              <a:t>(Train on all 14.5 months data)</a:t>
            </a:r>
            <a:r>
              <a:rPr lang="en-CA" sz="3200" dirty="0"/>
              <a:t> </a:t>
            </a:r>
            <a:r>
              <a:rPr lang="en-CA" sz="1800" dirty="0"/>
              <a:t>– Temperature only</a:t>
            </a:r>
            <a:endParaRPr lang="en-CA" sz="1600" dirty="0"/>
          </a:p>
        </p:txBody>
      </p:sp>
      <p:graphicFrame>
        <p:nvGraphicFramePr>
          <p:cNvPr id="8" name="Table 7">
            <a:extLst>
              <a:ext uri="{FF2B5EF4-FFF2-40B4-BE49-F238E27FC236}">
                <a16:creationId xmlns:a16="http://schemas.microsoft.com/office/drawing/2014/main" id="{1906C6DB-927E-45F6-8418-ADA1724CC545}"/>
              </a:ext>
            </a:extLst>
          </p:cNvPr>
          <p:cNvGraphicFramePr>
            <a:graphicFrameLocks noGrp="1"/>
          </p:cNvGraphicFramePr>
          <p:nvPr>
            <p:extLst>
              <p:ext uri="{D42A27DB-BD31-4B8C-83A1-F6EECF244321}">
                <p14:modId xmlns:p14="http://schemas.microsoft.com/office/powerpoint/2010/main" val="100746563"/>
              </p:ext>
            </p:extLst>
          </p:nvPr>
        </p:nvGraphicFramePr>
        <p:xfrm>
          <a:off x="2585006" y="804060"/>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Both Cities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8.8244609538506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3175316973722931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67983045 -10.2644278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8.2239989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9" name="Table 8">
            <a:extLst>
              <a:ext uri="{FF2B5EF4-FFF2-40B4-BE49-F238E27FC236}">
                <a16:creationId xmlns:a16="http://schemas.microsoft.com/office/drawing/2014/main" id="{73548224-FA08-4668-BF74-75D384417AF6}"/>
              </a:ext>
            </a:extLst>
          </p:cNvPr>
          <p:cNvGraphicFramePr>
            <a:graphicFrameLocks noGrp="1"/>
          </p:cNvGraphicFramePr>
          <p:nvPr>
            <p:extLst>
              <p:ext uri="{D42A27DB-BD31-4B8C-83A1-F6EECF244321}">
                <p14:modId xmlns:p14="http://schemas.microsoft.com/office/powerpoint/2010/main" val="3969345758"/>
              </p:ext>
            </p:extLst>
          </p:nvPr>
        </p:nvGraphicFramePr>
        <p:xfrm>
          <a:off x="124835"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NY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6.9041712622321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587756911393235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75093355]]</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8.8611888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10" name="Table 9">
            <a:extLst>
              <a:ext uri="{FF2B5EF4-FFF2-40B4-BE49-F238E27FC236}">
                <a16:creationId xmlns:a16="http://schemas.microsoft.com/office/drawing/2014/main" id="{621A4BEB-D728-4D1A-8C4D-3A9228C536CA}"/>
              </a:ext>
            </a:extLst>
          </p:cNvPr>
          <p:cNvGraphicFramePr>
            <a:graphicFrameLocks noGrp="1"/>
          </p:cNvGraphicFramePr>
          <p:nvPr>
            <p:extLst>
              <p:ext uri="{D42A27DB-BD31-4B8C-83A1-F6EECF244321}">
                <p14:modId xmlns:p14="http://schemas.microsoft.com/office/powerpoint/2010/main" val="2040917849"/>
              </p:ext>
            </p:extLst>
          </p:nvPr>
        </p:nvGraphicFramePr>
        <p:xfrm>
          <a:off x="4656188"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s on Sao Paulo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65.7290352887215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00619618662142573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286077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8.2592491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pSp>
        <p:nvGrpSpPr>
          <p:cNvPr id="3" name="Group 2">
            <a:extLst>
              <a:ext uri="{FF2B5EF4-FFF2-40B4-BE49-F238E27FC236}">
                <a16:creationId xmlns:a16="http://schemas.microsoft.com/office/drawing/2014/main" id="{905B9361-4499-4E59-93D9-28ED2308DF6B}"/>
              </a:ext>
            </a:extLst>
          </p:cNvPr>
          <p:cNvGrpSpPr/>
          <p:nvPr/>
        </p:nvGrpSpPr>
        <p:grpSpPr>
          <a:xfrm>
            <a:off x="1835524" y="804060"/>
            <a:ext cx="440391" cy="386005"/>
            <a:chOff x="1835524" y="804060"/>
            <a:chExt cx="440391" cy="386005"/>
          </a:xfrm>
        </p:grpSpPr>
        <p:sp>
          <p:nvSpPr>
            <p:cNvPr id="11" name="Flowchart: Connector 10">
              <a:extLst>
                <a:ext uri="{FF2B5EF4-FFF2-40B4-BE49-F238E27FC236}">
                  <a16:creationId xmlns:a16="http://schemas.microsoft.com/office/drawing/2014/main" id="{979A4164-0506-4EB3-8F21-A5CFE2703585}"/>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 name="TextBox 1">
              <a:extLst>
                <a:ext uri="{FF2B5EF4-FFF2-40B4-BE49-F238E27FC236}">
                  <a16:creationId xmlns:a16="http://schemas.microsoft.com/office/drawing/2014/main" id="{42B93640-1E2D-4AD9-BCB5-AD74498C9D9E}"/>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1a</a:t>
              </a:r>
              <a:endParaRPr lang="en-CA" dirty="0">
                <a:solidFill>
                  <a:schemeClr val="bg1"/>
                </a:solidFill>
                <a:latin typeface="Abel" panose="020B0604020202020204" charset="0"/>
              </a:endParaRPr>
            </a:p>
          </p:txBody>
        </p:sp>
      </p:grpSp>
      <p:grpSp>
        <p:nvGrpSpPr>
          <p:cNvPr id="17" name="Group 16">
            <a:extLst>
              <a:ext uri="{FF2B5EF4-FFF2-40B4-BE49-F238E27FC236}">
                <a16:creationId xmlns:a16="http://schemas.microsoft.com/office/drawing/2014/main" id="{5BD8ED06-06B4-42A3-BC3A-4EB7F6864D2E}"/>
              </a:ext>
            </a:extLst>
          </p:cNvPr>
          <p:cNvGrpSpPr/>
          <p:nvPr/>
        </p:nvGrpSpPr>
        <p:grpSpPr>
          <a:xfrm>
            <a:off x="172571" y="2532241"/>
            <a:ext cx="440391" cy="386005"/>
            <a:chOff x="1835524" y="804060"/>
            <a:chExt cx="440391" cy="386005"/>
          </a:xfrm>
        </p:grpSpPr>
        <p:sp>
          <p:nvSpPr>
            <p:cNvPr id="18" name="Flowchart: Connector 17">
              <a:extLst>
                <a:ext uri="{FF2B5EF4-FFF2-40B4-BE49-F238E27FC236}">
                  <a16:creationId xmlns:a16="http://schemas.microsoft.com/office/drawing/2014/main" id="{5115617A-5B49-482B-82D0-C36CF2B73B1E}"/>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0" name="TextBox 19">
              <a:extLst>
                <a:ext uri="{FF2B5EF4-FFF2-40B4-BE49-F238E27FC236}">
                  <a16:creationId xmlns:a16="http://schemas.microsoft.com/office/drawing/2014/main" id="{1C2BD4A8-69DD-4EF7-AE4F-B652B9EB7F4C}"/>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2a</a:t>
              </a:r>
              <a:endParaRPr lang="en-CA" dirty="0">
                <a:solidFill>
                  <a:schemeClr val="bg1"/>
                </a:solidFill>
                <a:latin typeface="Abel" panose="020B0604020202020204" charset="0"/>
              </a:endParaRPr>
            </a:p>
          </p:txBody>
        </p:sp>
      </p:grpSp>
      <p:grpSp>
        <p:nvGrpSpPr>
          <p:cNvPr id="22" name="Group 21">
            <a:extLst>
              <a:ext uri="{FF2B5EF4-FFF2-40B4-BE49-F238E27FC236}">
                <a16:creationId xmlns:a16="http://schemas.microsoft.com/office/drawing/2014/main" id="{D0951220-CF1B-4B7B-B5CD-6AFBFDC41CE8}"/>
              </a:ext>
            </a:extLst>
          </p:cNvPr>
          <p:cNvGrpSpPr/>
          <p:nvPr/>
        </p:nvGrpSpPr>
        <p:grpSpPr>
          <a:xfrm>
            <a:off x="8259024" y="2493126"/>
            <a:ext cx="440391" cy="386005"/>
            <a:chOff x="1835524" y="804060"/>
            <a:chExt cx="440391" cy="386005"/>
          </a:xfrm>
        </p:grpSpPr>
        <p:sp>
          <p:nvSpPr>
            <p:cNvPr id="23" name="Flowchart: Connector 22">
              <a:extLst>
                <a:ext uri="{FF2B5EF4-FFF2-40B4-BE49-F238E27FC236}">
                  <a16:creationId xmlns:a16="http://schemas.microsoft.com/office/drawing/2014/main" id="{05B9B268-D364-4FBF-B498-69BA9EB1FB60}"/>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4" name="TextBox 23">
              <a:extLst>
                <a:ext uri="{FF2B5EF4-FFF2-40B4-BE49-F238E27FC236}">
                  <a16:creationId xmlns:a16="http://schemas.microsoft.com/office/drawing/2014/main" id="{63F7A047-E814-4725-BAF9-2834FF66D820}"/>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3a</a:t>
              </a:r>
              <a:endParaRPr lang="en-CA" dirty="0">
                <a:solidFill>
                  <a:schemeClr val="bg1"/>
                </a:solidFill>
                <a:latin typeface="Abel" panose="020B0604020202020204" charset="0"/>
              </a:endParaRPr>
            </a:p>
          </p:txBody>
        </p:sp>
      </p:grpSp>
    </p:spTree>
    <p:extLst>
      <p:ext uri="{BB962C8B-B14F-4D97-AF65-F5344CB8AC3E}">
        <p14:creationId xmlns:p14="http://schemas.microsoft.com/office/powerpoint/2010/main" val="2856785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DA5AA9-6C56-4A71-800B-23DABF5AD605}"/>
              </a:ext>
            </a:extLst>
          </p:cNvPr>
          <p:cNvPicPr>
            <a:picLocks noChangeAspect="1"/>
          </p:cNvPicPr>
          <p:nvPr/>
        </p:nvPicPr>
        <p:blipFill>
          <a:blip r:embed="rId3">
            <a:alphaModFix amt="85000"/>
          </a:blip>
          <a:stretch>
            <a:fillRect/>
          </a:stretch>
        </p:blipFill>
        <p:spPr>
          <a:xfrm>
            <a:off x="4657325" y="746449"/>
            <a:ext cx="2460372" cy="1118293"/>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9939BB6F-9697-49ED-97B2-FD517D29F99D}"/>
              </a:ext>
            </a:extLst>
          </p:cNvPr>
          <p:cNvPicPr>
            <a:picLocks noChangeAspect="1"/>
          </p:cNvPicPr>
          <p:nvPr/>
        </p:nvPicPr>
        <p:blipFill>
          <a:blip r:embed="rId4">
            <a:alphaModFix amt="85000"/>
          </a:blip>
          <a:stretch>
            <a:fillRect/>
          </a:stretch>
        </p:blipFill>
        <p:spPr>
          <a:xfrm>
            <a:off x="6346654" y="1841877"/>
            <a:ext cx="2743797" cy="1008911"/>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0C89CCE1-85DF-4578-B2A7-CDBBC42C9A93}"/>
              </a:ext>
            </a:extLst>
          </p:cNvPr>
          <p:cNvPicPr>
            <a:picLocks noChangeAspect="1"/>
          </p:cNvPicPr>
          <p:nvPr/>
        </p:nvPicPr>
        <p:blipFill>
          <a:blip r:embed="rId5">
            <a:alphaModFix amt="50000"/>
          </a:blip>
          <a:stretch>
            <a:fillRect/>
          </a:stretch>
        </p:blipFill>
        <p:spPr>
          <a:xfrm>
            <a:off x="7083606" y="746449"/>
            <a:ext cx="2040937" cy="1072597"/>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96993CFD-7568-4AFB-A5F4-D4F73596D76D}"/>
              </a:ext>
            </a:extLst>
          </p:cNvPr>
          <p:cNvPicPr>
            <a:picLocks noChangeAspect="1"/>
          </p:cNvPicPr>
          <p:nvPr/>
        </p:nvPicPr>
        <p:blipFill>
          <a:blip r:embed="rId6">
            <a:alphaModFix amt="70000"/>
          </a:blip>
          <a:stretch>
            <a:fillRect/>
          </a:stretch>
        </p:blipFill>
        <p:spPr>
          <a:xfrm>
            <a:off x="2944409" y="4493464"/>
            <a:ext cx="2048087" cy="650036"/>
          </a:xfrm>
          <a:prstGeom prst="rect">
            <a:avLst/>
          </a:prstGeom>
          <a:ln>
            <a:noFill/>
          </a:ln>
          <a:effectLst>
            <a:outerShdw blurRad="190500" algn="tl" rotWithShape="0">
              <a:srgbClr val="000000">
                <a:alpha val="70000"/>
              </a:srgbClr>
            </a:outerShdw>
          </a:effectLst>
        </p:spPr>
      </p:pic>
      <p:pic>
        <p:nvPicPr>
          <p:cNvPr id="14" name="Picture 13">
            <a:extLst>
              <a:ext uri="{FF2B5EF4-FFF2-40B4-BE49-F238E27FC236}">
                <a16:creationId xmlns:a16="http://schemas.microsoft.com/office/drawing/2014/main" id="{6AFB7CE9-E7E7-4E4E-AF66-3A54E0C3234C}"/>
              </a:ext>
            </a:extLst>
          </p:cNvPr>
          <p:cNvPicPr>
            <a:picLocks noChangeAspect="1"/>
          </p:cNvPicPr>
          <p:nvPr/>
        </p:nvPicPr>
        <p:blipFill>
          <a:blip r:embed="rId7">
            <a:alphaModFix amt="85000"/>
          </a:blip>
          <a:stretch>
            <a:fillRect/>
          </a:stretch>
        </p:blipFill>
        <p:spPr>
          <a:xfrm>
            <a:off x="0" y="3026386"/>
            <a:ext cx="2944409" cy="2117114"/>
          </a:xfrm>
          <a:prstGeom prst="rect">
            <a:avLst/>
          </a:prstGeom>
          <a:ln>
            <a:noFill/>
          </a:ln>
          <a:effectLst>
            <a:outerShdw blurRad="190500" algn="tl" rotWithShape="0">
              <a:srgbClr val="000000">
                <a:alpha val="70000"/>
              </a:srgbClr>
            </a:outerShdw>
          </a:effectLst>
        </p:spPr>
      </p:pic>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3290718" cy="665100"/>
          </a:xfrm>
        </p:spPr>
        <p:txBody>
          <a:bodyPr/>
          <a:lstStyle/>
          <a:p>
            <a:r>
              <a:rPr lang="en-CA" dirty="0"/>
              <a:t>Overview</a:t>
            </a:r>
          </a:p>
        </p:txBody>
      </p:sp>
      <p:sp>
        <p:nvSpPr>
          <p:cNvPr id="19" name="TextBox 18">
            <a:extLst>
              <a:ext uri="{FF2B5EF4-FFF2-40B4-BE49-F238E27FC236}">
                <a16:creationId xmlns:a16="http://schemas.microsoft.com/office/drawing/2014/main" id="{DEB8E808-AF29-4624-B380-E7E27A7716EF}"/>
              </a:ext>
            </a:extLst>
          </p:cNvPr>
          <p:cNvSpPr txBox="1"/>
          <p:nvPr/>
        </p:nvSpPr>
        <p:spPr>
          <a:xfrm>
            <a:off x="50917" y="742355"/>
            <a:ext cx="4330873" cy="2246769"/>
          </a:xfrm>
          <a:prstGeom prst="rect">
            <a:avLst/>
          </a:prstGeom>
          <a:noFill/>
        </p:spPr>
        <p:txBody>
          <a:bodyPr wrap="square" rtlCol="0">
            <a:spAutoFit/>
          </a:bodyPr>
          <a:lstStyle/>
          <a:p>
            <a:r>
              <a:rPr lang="en-US" dirty="0">
                <a:solidFill>
                  <a:schemeClr val="bg1"/>
                </a:solidFill>
                <a:latin typeface="Abel" panose="020B0604020202020204" charset="0"/>
                <a:cs typeface="Arial" panose="020B0604020202020204" pitchFamily="34" charset="0"/>
              </a:rPr>
              <a:t>The new novel Coronavirus known as Covid19 (SARS CoV-2), has caused one of the most serious health crises globally. Since its global spread last year, we've seen multiple news article around the impact of temperature and humidity on the speed of spread and whether or not virus thrive in colder temperature. A simple Google search using term "covid spread cold and dry weather news" will lead to  multiple articles from credible sources (statistical and scientific) in favor or against.</a:t>
            </a:r>
          </a:p>
          <a:p>
            <a:endParaRPr lang="en-CA" dirty="0">
              <a:solidFill>
                <a:schemeClr val="bg1"/>
              </a:solidFill>
            </a:endParaRPr>
          </a:p>
        </p:txBody>
      </p:sp>
      <p:sp>
        <p:nvSpPr>
          <p:cNvPr id="20" name="Title 15">
            <a:extLst>
              <a:ext uri="{FF2B5EF4-FFF2-40B4-BE49-F238E27FC236}">
                <a16:creationId xmlns:a16="http://schemas.microsoft.com/office/drawing/2014/main" id="{C2231E2A-A5EB-470B-95C3-111A8880FB85}"/>
              </a:ext>
            </a:extLst>
          </p:cNvPr>
          <p:cNvSpPr txBox="1">
            <a:spLocks/>
          </p:cNvSpPr>
          <p:nvPr/>
        </p:nvSpPr>
        <p:spPr>
          <a:xfrm>
            <a:off x="5110225" y="3119988"/>
            <a:ext cx="3290718" cy="6651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1pPr>
            <a:lvl2pPr marR="0" lvl="1"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2pPr>
            <a:lvl3pPr marR="0" lvl="2"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3pPr>
            <a:lvl4pPr marR="0" lvl="3"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4pPr>
            <a:lvl5pPr marR="0" lvl="4"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5pPr>
            <a:lvl6pPr marR="0" lvl="5"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6pPr>
            <a:lvl7pPr marR="0" lvl="6"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7pPr>
            <a:lvl8pPr marR="0" lvl="7"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8pPr>
            <a:lvl9pPr marR="0" lvl="8"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9pPr>
          </a:lstStyle>
          <a:p>
            <a:r>
              <a:rPr lang="en-CA" dirty="0"/>
              <a:t>Purpose</a:t>
            </a:r>
          </a:p>
        </p:txBody>
      </p:sp>
      <p:sp>
        <p:nvSpPr>
          <p:cNvPr id="21" name="TextBox 20">
            <a:extLst>
              <a:ext uri="{FF2B5EF4-FFF2-40B4-BE49-F238E27FC236}">
                <a16:creationId xmlns:a16="http://schemas.microsoft.com/office/drawing/2014/main" id="{82F33EE9-D127-4B91-9488-B3F5AC52097E}"/>
              </a:ext>
            </a:extLst>
          </p:cNvPr>
          <p:cNvSpPr txBox="1"/>
          <p:nvPr/>
        </p:nvSpPr>
        <p:spPr>
          <a:xfrm>
            <a:off x="5033030" y="3658387"/>
            <a:ext cx="4057421" cy="523220"/>
          </a:xfrm>
          <a:prstGeom prst="rect">
            <a:avLst/>
          </a:prstGeom>
          <a:noFill/>
        </p:spPr>
        <p:txBody>
          <a:bodyPr wrap="square" rtlCol="0">
            <a:spAutoFit/>
          </a:bodyPr>
          <a:lstStyle/>
          <a:p>
            <a:pPr algn="just"/>
            <a:r>
              <a:rPr lang="en-US" dirty="0">
                <a:solidFill>
                  <a:schemeClr val="bg1"/>
                </a:solidFill>
                <a:latin typeface="Abel" panose="020B0604020202020204" charset="0"/>
                <a:ea typeface="Verdana" panose="020B0604030504040204" pitchFamily="34" charset="0"/>
                <a:cs typeface="Arial" panose="020B0604020202020204" pitchFamily="34" charset="0"/>
              </a:rPr>
              <a:t>The purpose of this study is to analyze if colder and dryer weather have any impact on Covid-19 virus </a:t>
            </a:r>
          </a:p>
        </p:txBody>
      </p:sp>
    </p:spTree>
    <p:extLst>
      <p:ext uri="{BB962C8B-B14F-4D97-AF65-F5344CB8AC3E}">
        <p14:creationId xmlns:p14="http://schemas.microsoft.com/office/powerpoint/2010/main" val="2129866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50"/>
        <p:cNvGrpSpPr/>
        <p:nvPr/>
      </p:nvGrpSpPr>
      <p:grpSpPr>
        <a:xfrm>
          <a:off x="0" y="0"/>
          <a:ext cx="0" cy="0"/>
          <a:chOff x="0" y="0"/>
          <a:chExt cx="0" cy="0"/>
        </a:xfrm>
      </p:grpSpPr>
      <p:sp>
        <p:nvSpPr>
          <p:cNvPr id="552" name="Google Shape;552;p43"/>
          <p:cNvSpPr txBox="1">
            <a:spLocks noGrp="1"/>
          </p:cNvSpPr>
          <p:nvPr>
            <p:ph type="sldNum" idx="12"/>
          </p:nvPr>
        </p:nvSpPr>
        <p:spPr>
          <a:xfrm>
            <a:off x="8352013" y="3954233"/>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3</a:t>
            </a:fld>
            <a:endParaRPr/>
          </a:p>
        </p:txBody>
      </p:sp>
      <p:sp>
        <p:nvSpPr>
          <p:cNvPr id="553" name="Google Shape;553;p43"/>
          <p:cNvSpPr/>
          <p:nvPr/>
        </p:nvSpPr>
        <p:spPr>
          <a:xfrm>
            <a:off x="319577" y="0"/>
            <a:ext cx="4089818" cy="2249344"/>
          </a:xfrm>
          <a:prstGeom prst="rect">
            <a:avLst/>
          </a:prstGeom>
          <a:solidFill>
            <a:srgbClr val="001033">
              <a:alpha val="32960"/>
            </a:srgbClr>
          </a:solidFill>
          <a:ln>
            <a:solidFill>
              <a:schemeClr val="bg1">
                <a:lumMod val="95000"/>
              </a:schemeClr>
            </a:solidFill>
          </a:ln>
        </p:spPr>
        <p:txBody>
          <a:bodyPr spcFirstLastPara="1" wrap="square" lIns="91425" tIns="91425" rIns="1371600" bIns="91425" anchor="t" anchorCtr="0">
            <a:noAutofit/>
          </a:bodyPr>
          <a:lstStyle/>
          <a:p>
            <a:pPr marL="0" lvl="0" indent="0" algn="l" rtl="0">
              <a:spcBef>
                <a:spcPts val="0"/>
              </a:spcBef>
              <a:spcAft>
                <a:spcPts val="0"/>
              </a:spcAft>
              <a:buNone/>
            </a:pPr>
            <a:r>
              <a:rPr lang="en-CA" sz="2400" b="1" dirty="0">
                <a:solidFill>
                  <a:schemeClr val="lt1"/>
                </a:solidFill>
                <a:latin typeface="Abel" panose="020B0604020202020204" charset="0"/>
                <a:ea typeface="Encode Sans Semi Condensed"/>
                <a:cs typeface="Encode Sans Semi Condensed"/>
                <a:sym typeface="Encode Sans Semi Condensed"/>
              </a:rPr>
              <a:t>DATA SOURCES</a:t>
            </a:r>
          </a:p>
          <a:p>
            <a:pPr marL="0" lvl="0" indent="0" algn="l" rtl="0">
              <a:spcBef>
                <a:spcPts val="0"/>
              </a:spcBef>
              <a:spcAft>
                <a:spcPts val="0"/>
              </a:spcAft>
              <a:buNone/>
            </a:pPr>
            <a:r>
              <a:rPr lang="en-CA" sz="1600" dirty="0">
                <a:solidFill>
                  <a:schemeClr val="lt1"/>
                </a:solidFill>
                <a:latin typeface="Abel" panose="020B0604020202020204" charset="0"/>
                <a:ea typeface="Encode Sans Semi Condensed"/>
                <a:cs typeface="Encode Sans Semi Condensed"/>
                <a:sym typeface="Encode Sans Semi Condensed"/>
              </a:rPr>
              <a:t>(Secondary Data)</a:t>
            </a:r>
            <a:endParaRPr sz="1600" dirty="0">
              <a:solidFill>
                <a:schemeClr val="lt1"/>
              </a:solidFill>
              <a:latin typeface="Abel" panose="020B0604020202020204" charset="0"/>
              <a:ea typeface="Encode Sans Semi Condensed"/>
              <a:cs typeface="Encode Sans Semi Condensed"/>
              <a:sym typeface="Encode Sans Semi Condensed"/>
            </a:endParaRPr>
          </a:p>
          <a:p>
            <a:pPr lvl="0" algn="l" rtl="0"/>
            <a:endParaRPr lang="en" dirty="0">
              <a:solidFill>
                <a:schemeClr val="lt1"/>
              </a:solidFill>
              <a:latin typeface="Encode Sans Semi Condensed"/>
              <a:ea typeface="Encode Sans Semi Condensed"/>
              <a:cs typeface="Encode Sans Semi Condensed"/>
              <a:sym typeface="Encode Sans Semi Condensed"/>
            </a:endParaRPr>
          </a:p>
        </p:txBody>
      </p:sp>
      <p:sp>
        <p:nvSpPr>
          <p:cNvPr id="554" name="Google Shape;554;p43"/>
          <p:cNvSpPr/>
          <p:nvPr/>
        </p:nvSpPr>
        <p:spPr>
          <a:xfrm>
            <a:off x="4572000" y="0"/>
            <a:ext cx="4328713" cy="2249344"/>
          </a:xfrm>
          <a:prstGeom prst="rect">
            <a:avLst/>
          </a:prstGeom>
          <a:solidFill>
            <a:srgbClr val="001033">
              <a:alpha val="32960"/>
            </a:srgbClr>
          </a:solidFill>
          <a:ln>
            <a:solidFill>
              <a:schemeClr val="bg1">
                <a:lumMod val="95000"/>
              </a:schemeClr>
            </a:solidFill>
          </a:ln>
        </p:spPr>
        <p:txBody>
          <a:bodyPr spcFirstLastPara="1" wrap="square" lIns="1371600" tIns="91425" rIns="91425" bIns="91425" anchor="t" anchorCtr="0">
            <a:noAutofit/>
          </a:bodyPr>
          <a:lstStyle/>
          <a:p>
            <a:pPr marL="0" lvl="0" indent="0" algn="r" rtl="0">
              <a:spcBef>
                <a:spcPts val="0"/>
              </a:spcBef>
              <a:spcAft>
                <a:spcPts val="0"/>
              </a:spcAft>
              <a:buClr>
                <a:schemeClr val="dk1"/>
              </a:buClr>
              <a:buSzPts val="1100"/>
              <a:buFont typeface="Arial"/>
              <a:buNone/>
            </a:pPr>
            <a:r>
              <a:rPr lang="en-CA" sz="2400" b="1" dirty="0">
                <a:solidFill>
                  <a:schemeClr val="lt1"/>
                </a:solidFill>
                <a:latin typeface="Abel" panose="020B0604020202020204" charset="0"/>
                <a:ea typeface="Encode Sans Semi Condensed"/>
                <a:cs typeface="Encode Sans Semi Condensed"/>
                <a:sym typeface="Encode Sans Semi Condensed"/>
              </a:rPr>
              <a:t>PROJECT SCOPE</a:t>
            </a:r>
            <a:endParaRPr sz="2400" b="1" dirty="0">
              <a:solidFill>
                <a:schemeClr val="lt1"/>
              </a:solidFill>
              <a:latin typeface="Abel" panose="020B0604020202020204" charset="0"/>
              <a:ea typeface="Encode Sans Semi Condensed"/>
              <a:cs typeface="Encode Sans Semi Condensed"/>
              <a:sym typeface="Encode Sans Semi Condensed"/>
            </a:endParaRPr>
          </a:p>
        </p:txBody>
      </p:sp>
      <p:sp>
        <p:nvSpPr>
          <p:cNvPr id="555" name="Google Shape;555;p43"/>
          <p:cNvSpPr/>
          <p:nvPr/>
        </p:nvSpPr>
        <p:spPr>
          <a:xfrm>
            <a:off x="319577" y="2316715"/>
            <a:ext cx="4089818" cy="2672144"/>
          </a:xfrm>
          <a:prstGeom prst="rect">
            <a:avLst/>
          </a:prstGeom>
          <a:solidFill>
            <a:srgbClr val="001033">
              <a:alpha val="32960"/>
            </a:srgbClr>
          </a:solidFill>
          <a:ln>
            <a:solidFill>
              <a:schemeClr val="bg1">
                <a:lumMod val="95000"/>
              </a:schemeClr>
            </a:solidFill>
          </a:ln>
        </p:spPr>
        <p:txBody>
          <a:bodyPr spcFirstLastPara="1" wrap="square" lIns="91425" tIns="91425" rIns="1371600" bIns="91425" anchor="b" anchorCtr="0">
            <a:noAutofit/>
          </a:bodyPr>
          <a:lstStyle/>
          <a:p>
            <a:pPr marL="0" lvl="0" indent="0" algn="l" rtl="0">
              <a:spcBef>
                <a:spcPts val="0"/>
              </a:spcBef>
              <a:spcAft>
                <a:spcPts val="0"/>
              </a:spcAft>
              <a:buClr>
                <a:schemeClr val="dk1"/>
              </a:buClr>
              <a:buSzPts val="1100"/>
              <a:buFont typeface="Arial"/>
              <a:buNone/>
            </a:pPr>
            <a:endParaRPr b="1" dirty="0">
              <a:solidFill>
                <a:schemeClr val="lt1"/>
              </a:solidFill>
              <a:latin typeface="Encode Sans Semi Condensed"/>
              <a:ea typeface="Encode Sans Semi Condensed"/>
              <a:cs typeface="Encode Sans Semi Condensed"/>
              <a:sym typeface="Encode Sans Semi Condensed"/>
            </a:endParaRPr>
          </a:p>
          <a:p>
            <a:pPr marL="0" lvl="0" indent="0" algn="l" rtl="0">
              <a:spcBef>
                <a:spcPts val="600"/>
              </a:spcBef>
              <a:spcAft>
                <a:spcPts val="0"/>
              </a:spcAft>
              <a:buClr>
                <a:schemeClr val="dk1"/>
              </a:buClr>
              <a:buSzPts val="1100"/>
              <a:buFont typeface="Arial"/>
              <a:buNone/>
            </a:pPr>
            <a:endParaRPr dirty="0">
              <a:solidFill>
                <a:schemeClr val="lt1"/>
              </a:solidFill>
              <a:latin typeface="Encode Sans Semi Condensed"/>
              <a:ea typeface="Encode Sans Semi Condensed"/>
              <a:cs typeface="Encode Sans Semi Condensed"/>
              <a:sym typeface="Encode Sans Semi Condensed"/>
            </a:endParaRPr>
          </a:p>
          <a:p>
            <a:pPr marL="0" lvl="0" indent="0" algn="l" rtl="0">
              <a:spcBef>
                <a:spcPts val="600"/>
              </a:spcBef>
              <a:spcAft>
                <a:spcPts val="600"/>
              </a:spcAft>
              <a:buClr>
                <a:schemeClr val="dk1"/>
              </a:buClr>
              <a:buSzPts val="1100"/>
              <a:buFont typeface="Arial"/>
              <a:buNone/>
            </a:pPr>
            <a:r>
              <a:rPr lang="en-CA" sz="2400" b="1" dirty="0">
                <a:solidFill>
                  <a:schemeClr val="lt1"/>
                </a:solidFill>
                <a:latin typeface="Abel" panose="020B0604020202020204" charset="0"/>
                <a:ea typeface="Encode Sans Semi Condensed"/>
                <a:cs typeface="Encode Sans Semi Condensed"/>
                <a:sym typeface="Encode Sans Semi Condensed"/>
              </a:rPr>
              <a:t>VARIABLES</a:t>
            </a:r>
            <a:endParaRPr sz="2400" dirty="0">
              <a:solidFill>
                <a:schemeClr val="lt1"/>
              </a:solidFill>
              <a:latin typeface="Abel" panose="020B0604020202020204" charset="0"/>
              <a:ea typeface="Encode Sans Semi Condensed"/>
              <a:cs typeface="Encode Sans Semi Condensed"/>
              <a:sym typeface="Encode Sans Semi Condensed"/>
            </a:endParaRPr>
          </a:p>
        </p:txBody>
      </p:sp>
      <p:sp>
        <p:nvSpPr>
          <p:cNvPr id="556" name="Google Shape;556;p43"/>
          <p:cNvSpPr/>
          <p:nvPr/>
        </p:nvSpPr>
        <p:spPr>
          <a:xfrm>
            <a:off x="4572000" y="2316715"/>
            <a:ext cx="4328713" cy="2672144"/>
          </a:xfrm>
          <a:prstGeom prst="rect">
            <a:avLst/>
          </a:prstGeom>
          <a:solidFill>
            <a:srgbClr val="001033">
              <a:alpha val="32960"/>
            </a:srgbClr>
          </a:solidFill>
          <a:ln>
            <a:solidFill>
              <a:schemeClr val="bg1">
                <a:lumMod val="95000"/>
              </a:schemeClr>
            </a:solidFill>
          </a:ln>
        </p:spPr>
        <p:txBody>
          <a:bodyPr spcFirstLastPara="1" wrap="square" lIns="1371600" tIns="91425" rIns="91425" bIns="91425" anchor="b" anchorCtr="0">
            <a:noAutofit/>
          </a:bodyPr>
          <a:lstStyle/>
          <a:p>
            <a:pPr marL="0" lvl="0" indent="0" algn="r" rtl="0">
              <a:spcBef>
                <a:spcPts val="0"/>
              </a:spcBef>
              <a:spcAft>
                <a:spcPts val="0"/>
              </a:spcAft>
              <a:buClr>
                <a:schemeClr val="dk1"/>
              </a:buClr>
              <a:buSzPts val="1100"/>
              <a:buFont typeface="Arial"/>
              <a:buNone/>
            </a:pPr>
            <a:r>
              <a:rPr lang="en" sz="2400" b="1" dirty="0">
                <a:solidFill>
                  <a:schemeClr val="lt1"/>
                </a:solidFill>
                <a:latin typeface="Abel" panose="020B0604020202020204" charset="0"/>
                <a:ea typeface="Encode Sans Semi Condensed"/>
                <a:cs typeface="Encode Sans Semi Condensed"/>
                <a:sym typeface="Encode Sans Semi Condensed"/>
              </a:rPr>
              <a:t>LIMITATIONS &amp; ASSUMPTIONS </a:t>
            </a:r>
            <a:endParaRPr sz="2400" dirty="0">
              <a:solidFill>
                <a:schemeClr val="lt1"/>
              </a:solidFill>
              <a:latin typeface="Abel" panose="020B0604020202020204" charset="0"/>
              <a:ea typeface="Encode Sans Semi Condensed"/>
              <a:cs typeface="Encode Sans Semi Condensed"/>
              <a:sym typeface="Encode Sans Semi Condensed"/>
            </a:endParaRPr>
          </a:p>
        </p:txBody>
      </p:sp>
      <p:sp>
        <p:nvSpPr>
          <p:cNvPr id="557" name="Google Shape;557;p43"/>
          <p:cNvSpPr/>
          <p:nvPr/>
        </p:nvSpPr>
        <p:spPr>
          <a:xfrm>
            <a:off x="3118882" y="837267"/>
            <a:ext cx="2581024" cy="2824154"/>
          </a:xfrm>
          <a:prstGeom prst="pie">
            <a:avLst>
              <a:gd name="adj1" fmla="val 10788866"/>
              <a:gd name="adj2" fmla="val 16200000"/>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43"/>
          <p:cNvSpPr/>
          <p:nvPr/>
        </p:nvSpPr>
        <p:spPr>
          <a:xfrm rot="5400000">
            <a:off x="3159921" y="952005"/>
            <a:ext cx="2824156" cy="2581024"/>
          </a:xfrm>
          <a:prstGeom prst="pie">
            <a:avLst>
              <a:gd name="adj1" fmla="val 10788866"/>
              <a:gd name="adj2" fmla="val 16200000"/>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43"/>
          <p:cNvSpPr/>
          <p:nvPr/>
        </p:nvSpPr>
        <p:spPr>
          <a:xfrm rot="10800000">
            <a:off x="3295342" y="1112535"/>
            <a:ext cx="2581024" cy="2408720"/>
          </a:xfrm>
          <a:prstGeom prst="pie">
            <a:avLst>
              <a:gd name="adj1" fmla="val 10788866"/>
              <a:gd name="adj2" fmla="val 1620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43"/>
          <p:cNvSpPr/>
          <p:nvPr/>
        </p:nvSpPr>
        <p:spPr>
          <a:xfrm rot="-5400000">
            <a:off x="3205034" y="1031796"/>
            <a:ext cx="2408720" cy="2581024"/>
          </a:xfrm>
          <a:prstGeom prst="pie">
            <a:avLst>
              <a:gd name="adj1" fmla="val 10788866"/>
              <a:gd name="adj2" fmla="val 16200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extBox 3">
            <a:extLst>
              <a:ext uri="{FF2B5EF4-FFF2-40B4-BE49-F238E27FC236}">
                <a16:creationId xmlns:a16="http://schemas.microsoft.com/office/drawing/2014/main" id="{E980D597-247F-44E0-AD30-E2FFA6A5920E}"/>
              </a:ext>
            </a:extLst>
          </p:cNvPr>
          <p:cNvSpPr txBox="1"/>
          <p:nvPr/>
        </p:nvSpPr>
        <p:spPr>
          <a:xfrm>
            <a:off x="349594" y="904638"/>
            <a:ext cx="2931892" cy="769441"/>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Covid cases data</a:t>
            </a:r>
          </a:p>
          <a:p>
            <a:pPr marL="171450" indent="-171450">
              <a:buClr>
                <a:schemeClr val="bg1"/>
              </a:buClr>
              <a:buFont typeface="Arial" panose="020B0604020202020204" pitchFamily="34" charset="0"/>
              <a:buChar char="•"/>
            </a:pPr>
            <a:r>
              <a:rPr lang="en-CA" sz="1000" dirty="0" err="1">
                <a:solidFill>
                  <a:schemeClr val="bg1"/>
                </a:solidFill>
                <a:latin typeface="Abel" panose="020B0604020202020204" charset="0"/>
              </a:rPr>
              <a:t>Seade</a:t>
            </a:r>
            <a:r>
              <a:rPr lang="en-CA" sz="1000" dirty="0">
                <a:solidFill>
                  <a:schemeClr val="bg1"/>
                </a:solidFill>
                <a:latin typeface="Abel" panose="020B0604020202020204" charset="0"/>
              </a:rPr>
              <a:t> Foundation Statistics Agency of the State of Sao Paulo </a:t>
            </a:r>
            <a:r>
              <a:rPr lang="en-CA" sz="1000" baseline="30000" dirty="0">
                <a:solidFill>
                  <a:schemeClr val="bg1"/>
                </a:solidFill>
                <a:latin typeface="Abel" panose="020B0604020202020204" charset="0"/>
              </a:rPr>
              <a:t>[1]</a:t>
            </a:r>
            <a:endParaRPr lang="en-CA" sz="1000" dirty="0">
              <a:solidFill>
                <a:schemeClr val="bg1"/>
              </a:solidFill>
              <a:latin typeface="Abel" panose="020B0604020202020204" charset="0"/>
            </a:endParaRP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NYC Department of Health and Mental Hygiene</a:t>
            </a:r>
            <a:r>
              <a:rPr lang="en-CA" sz="1000" baseline="30000" dirty="0">
                <a:solidFill>
                  <a:schemeClr val="bg1"/>
                </a:solidFill>
                <a:latin typeface="Abel" panose="020B0604020202020204" charset="0"/>
              </a:rPr>
              <a:t> [2]</a:t>
            </a:r>
            <a:endParaRPr lang="en-CA" sz="1000" dirty="0">
              <a:solidFill>
                <a:schemeClr val="bg1"/>
              </a:solidFill>
              <a:latin typeface="Abel" panose="020B0604020202020204" charset="0"/>
            </a:endParaRPr>
          </a:p>
        </p:txBody>
      </p:sp>
      <p:sp>
        <p:nvSpPr>
          <p:cNvPr id="19" name="TextBox 18">
            <a:extLst>
              <a:ext uri="{FF2B5EF4-FFF2-40B4-BE49-F238E27FC236}">
                <a16:creationId xmlns:a16="http://schemas.microsoft.com/office/drawing/2014/main" id="{483397DC-E1E0-46CB-90ED-EC07A66CCB0A}"/>
              </a:ext>
            </a:extLst>
          </p:cNvPr>
          <p:cNvSpPr txBox="1"/>
          <p:nvPr/>
        </p:nvSpPr>
        <p:spPr>
          <a:xfrm>
            <a:off x="374400" y="1711407"/>
            <a:ext cx="3719268" cy="461665"/>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Weather data</a:t>
            </a:r>
          </a:p>
          <a:p>
            <a:pPr marL="171450" indent="-171450">
              <a:buClr>
                <a:schemeClr val="bg1"/>
              </a:buClr>
              <a:buFont typeface="Arial" panose="020B0604020202020204" pitchFamily="34" charset="0"/>
              <a:buChar char="•"/>
            </a:pPr>
            <a:r>
              <a:rPr lang="en-CA" sz="1000" dirty="0" err="1">
                <a:solidFill>
                  <a:schemeClr val="bg1"/>
                </a:solidFill>
                <a:latin typeface="Abel" panose="020B0604020202020204" charset="0"/>
              </a:rPr>
              <a:t>OpenWeatherMap</a:t>
            </a:r>
            <a:r>
              <a:rPr lang="en-CA" sz="1000" baseline="30000" dirty="0">
                <a:solidFill>
                  <a:schemeClr val="bg1"/>
                </a:solidFill>
                <a:latin typeface="Abel" panose="020B0604020202020204" charset="0"/>
              </a:rPr>
              <a:t>[3]</a:t>
            </a:r>
          </a:p>
        </p:txBody>
      </p:sp>
      <p:sp>
        <p:nvSpPr>
          <p:cNvPr id="20" name="TextBox 19">
            <a:extLst>
              <a:ext uri="{FF2B5EF4-FFF2-40B4-BE49-F238E27FC236}">
                <a16:creationId xmlns:a16="http://schemas.microsoft.com/office/drawing/2014/main" id="{18F45E2B-30F1-44D7-BBAD-366286B919F3}"/>
              </a:ext>
            </a:extLst>
          </p:cNvPr>
          <p:cNvSpPr txBox="1"/>
          <p:nvPr/>
        </p:nvSpPr>
        <p:spPr>
          <a:xfrm>
            <a:off x="307330" y="2357544"/>
            <a:ext cx="2849297" cy="769441"/>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Target</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7day_per_100k_new_cases </a:t>
            </a:r>
            <a:br>
              <a:rPr lang="en-US" sz="1000" dirty="0">
                <a:solidFill>
                  <a:schemeClr val="bg1"/>
                </a:solidFill>
                <a:latin typeface="Abel" panose="020B0604020202020204" charset="0"/>
              </a:rPr>
            </a:br>
            <a:r>
              <a:rPr lang="en-US" sz="1000" dirty="0">
                <a:solidFill>
                  <a:schemeClr val="bg1"/>
                </a:solidFill>
                <a:latin typeface="Abel" panose="020B0604020202020204" charset="0"/>
              </a:rPr>
              <a:t>(7 days moving average of  covid19 new cases for the city) </a:t>
            </a:r>
          </a:p>
        </p:txBody>
      </p:sp>
      <p:sp>
        <p:nvSpPr>
          <p:cNvPr id="21" name="TextBox 20">
            <a:extLst>
              <a:ext uri="{FF2B5EF4-FFF2-40B4-BE49-F238E27FC236}">
                <a16:creationId xmlns:a16="http://schemas.microsoft.com/office/drawing/2014/main" id="{04FAE952-2837-401E-A640-F33CA4D3DC3C}"/>
              </a:ext>
            </a:extLst>
          </p:cNvPr>
          <p:cNvSpPr txBox="1"/>
          <p:nvPr/>
        </p:nvSpPr>
        <p:spPr>
          <a:xfrm>
            <a:off x="5940542" y="777832"/>
            <a:ext cx="2853864" cy="1384995"/>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Limited to 2 cities</a:t>
            </a: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New York</a:t>
            </a: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Sao Paulo</a:t>
            </a:r>
          </a:p>
          <a:p>
            <a:pPr>
              <a:buClr>
                <a:schemeClr val="bg1"/>
              </a:buClr>
            </a:pPr>
            <a:endParaRPr lang="en-US" sz="1000" dirty="0">
              <a:solidFill>
                <a:schemeClr val="bg1"/>
              </a:solidFill>
              <a:latin typeface="Abel" panose="020B0604020202020204" charset="0"/>
            </a:endParaRPr>
          </a:p>
          <a:p>
            <a:pPr>
              <a:buClr>
                <a:schemeClr val="bg1"/>
              </a:buClr>
            </a:pPr>
            <a:endParaRPr lang="en-US" sz="1000" dirty="0">
              <a:solidFill>
                <a:schemeClr val="bg1"/>
              </a:solidFill>
              <a:latin typeface="Abel" panose="020B0604020202020204" charset="0"/>
            </a:endParaRPr>
          </a:p>
          <a:p>
            <a:pPr>
              <a:buClr>
                <a:schemeClr val="bg1"/>
              </a:buClr>
            </a:pPr>
            <a:r>
              <a:rPr lang="en-US" sz="1000" dirty="0">
                <a:solidFill>
                  <a:schemeClr val="bg1"/>
                </a:solidFill>
                <a:latin typeface="Abel" panose="020B0604020202020204" charset="0"/>
              </a:rPr>
              <a:t>Cities are selected based on similar population per 100,000, covid cases, weather differences covid response.</a:t>
            </a:r>
            <a:endParaRPr lang="en-CA" sz="1000" dirty="0">
              <a:solidFill>
                <a:schemeClr val="bg1"/>
              </a:solidFill>
              <a:latin typeface="Abel" panose="020B0604020202020204" charset="0"/>
            </a:endParaRPr>
          </a:p>
        </p:txBody>
      </p:sp>
      <p:sp>
        <p:nvSpPr>
          <p:cNvPr id="22" name="TextBox 21">
            <a:extLst>
              <a:ext uri="{FF2B5EF4-FFF2-40B4-BE49-F238E27FC236}">
                <a16:creationId xmlns:a16="http://schemas.microsoft.com/office/drawing/2014/main" id="{B47AD70E-4D3C-45E4-885A-ABBB08AAC554}"/>
              </a:ext>
            </a:extLst>
          </p:cNvPr>
          <p:cNvSpPr txBox="1"/>
          <p:nvPr/>
        </p:nvSpPr>
        <p:spPr>
          <a:xfrm>
            <a:off x="307330" y="3235185"/>
            <a:ext cx="3694587" cy="1231106"/>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Weather data</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15_temp </a:t>
            </a:r>
            <a:br>
              <a:rPr lang="en-US" sz="1000" dirty="0">
                <a:solidFill>
                  <a:schemeClr val="bg1"/>
                </a:solidFill>
                <a:latin typeface="Abel" panose="020B0604020202020204" charset="0"/>
              </a:rPr>
            </a:br>
            <a:r>
              <a:rPr lang="en-US" sz="1000" dirty="0">
                <a:solidFill>
                  <a:schemeClr val="bg1"/>
                </a:solidFill>
                <a:latin typeface="Abel" panose="020B0604020202020204" charset="0"/>
              </a:rPr>
              <a:t>(15 days moving average of temperature for the city)</a:t>
            </a:r>
            <a:br>
              <a:rPr lang="en-US" sz="1000" dirty="0">
                <a:solidFill>
                  <a:schemeClr val="bg1"/>
                </a:solidFill>
                <a:latin typeface="Abel" panose="020B0604020202020204" charset="0"/>
              </a:rPr>
            </a:br>
            <a:endParaRPr lang="en-US" sz="1000" dirty="0">
              <a:solidFill>
                <a:schemeClr val="bg1"/>
              </a:solidFill>
              <a:latin typeface="Abel" panose="020B0604020202020204" charset="0"/>
            </a:endParaRP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15_humidity </a:t>
            </a:r>
            <a:br>
              <a:rPr lang="en-US" sz="1000" dirty="0">
                <a:solidFill>
                  <a:schemeClr val="bg1"/>
                </a:solidFill>
                <a:latin typeface="Abel" panose="020B0604020202020204" charset="0"/>
              </a:rPr>
            </a:br>
            <a:r>
              <a:rPr lang="en-US" sz="1000" dirty="0">
                <a:solidFill>
                  <a:schemeClr val="bg1"/>
                </a:solidFill>
                <a:latin typeface="Abel" panose="020B0604020202020204" charset="0"/>
              </a:rPr>
              <a:t>(15 days moving average of humidity for the city)</a:t>
            </a:r>
          </a:p>
          <a:p>
            <a:pPr marL="171450" indent="-171450">
              <a:buClr>
                <a:schemeClr val="bg1"/>
              </a:buClr>
              <a:buFont typeface="Arial" panose="020B0604020202020204" pitchFamily="34" charset="0"/>
              <a:buChar char="•"/>
            </a:pPr>
            <a:endParaRPr lang="en-US" sz="1000" dirty="0">
              <a:solidFill>
                <a:schemeClr val="bg1"/>
              </a:solidFill>
              <a:latin typeface="Abel" panose="020B0604020202020204" charset="0"/>
            </a:endParaRPr>
          </a:p>
        </p:txBody>
      </p:sp>
      <p:sp>
        <p:nvSpPr>
          <p:cNvPr id="23" name="TextBox 22">
            <a:extLst>
              <a:ext uri="{FF2B5EF4-FFF2-40B4-BE49-F238E27FC236}">
                <a16:creationId xmlns:a16="http://schemas.microsoft.com/office/drawing/2014/main" id="{7D440EDB-57E3-44DB-B81C-1725594FC4F4}"/>
              </a:ext>
            </a:extLst>
          </p:cNvPr>
          <p:cNvSpPr txBox="1"/>
          <p:nvPr/>
        </p:nvSpPr>
        <p:spPr>
          <a:xfrm>
            <a:off x="5773974" y="2412055"/>
            <a:ext cx="3126740" cy="1508105"/>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lt1"/>
                </a:solidFill>
                <a:latin typeface="Abel" panose="020B0604020202020204" charset="0"/>
                <a:ea typeface="Encode Sans Semi Condensed"/>
                <a:cs typeface="Encode Sans Semi Condensed"/>
                <a:sym typeface="Encode Sans Semi Condensed"/>
              </a:rPr>
              <a:t>Standalone Study </a:t>
            </a:r>
            <a:br>
              <a:rPr lang="en-US" sz="1200" dirty="0">
                <a:solidFill>
                  <a:schemeClr val="lt1"/>
                </a:solidFill>
                <a:latin typeface="Abel" panose="020B0604020202020204" charset="0"/>
                <a:ea typeface="Encode Sans Semi Condensed"/>
                <a:cs typeface="Encode Sans Semi Condensed"/>
                <a:sym typeface="Encode Sans Semi Condensed"/>
              </a:rPr>
            </a:br>
            <a:r>
              <a:rPr lang="en-US" sz="1100" dirty="0">
                <a:solidFill>
                  <a:schemeClr val="lt1"/>
                </a:solidFill>
                <a:latin typeface="Abel" panose="020B0604020202020204" charset="0"/>
                <a:ea typeface="Encode Sans Semi Condensed"/>
                <a:cs typeface="Encode Sans Semi Condensed"/>
                <a:sym typeface="Encode Sans Semi Condensed"/>
              </a:rPr>
              <a:t>(Considers all other parameters were constant like testing, lockdowns, vaccinations, etc.)</a:t>
            </a:r>
          </a:p>
          <a:p>
            <a:pPr marL="285750" indent="-285750">
              <a:buFont typeface="Arial" panose="020B0604020202020204" pitchFamily="34" charset="0"/>
              <a:buChar char="•"/>
            </a:pPr>
            <a:endParaRPr lang="en-US" sz="1200" dirty="0">
              <a:solidFill>
                <a:schemeClr val="lt1"/>
              </a:solidFill>
              <a:latin typeface="Abel" panose="020B0604020202020204" charset="0"/>
              <a:ea typeface="Encode Sans Semi Condensed"/>
              <a:cs typeface="Encode Sans Semi Condensed"/>
              <a:sym typeface="Encode Sans Semi Condensed"/>
            </a:endParaRPr>
          </a:p>
          <a:p>
            <a:pPr marL="285750" indent="-285750">
              <a:buFont typeface="Arial" panose="020B0604020202020204" pitchFamily="34" charset="0"/>
              <a:buChar char="•"/>
            </a:pPr>
            <a:r>
              <a:rPr lang="en-US" sz="1200" dirty="0">
                <a:solidFill>
                  <a:schemeClr val="lt1"/>
                </a:solidFill>
                <a:latin typeface="Abel" panose="020B0604020202020204" charset="0"/>
                <a:ea typeface="Encode Sans Semi Condensed"/>
                <a:cs typeface="Encode Sans Semi Condensed"/>
                <a:sym typeface="Encode Sans Semi Condensed"/>
              </a:rPr>
              <a:t>Integrity of data sources </a:t>
            </a:r>
            <a:br>
              <a:rPr lang="en-US" sz="1200" dirty="0">
                <a:solidFill>
                  <a:schemeClr val="lt1"/>
                </a:solidFill>
                <a:latin typeface="Abel" panose="020B0604020202020204" charset="0"/>
                <a:ea typeface="Encode Sans Semi Condensed"/>
                <a:cs typeface="Encode Sans Semi Condensed"/>
                <a:sym typeface="Encode Sans Semi Condensed"/>
              </a:rPr>
            </a:br>
            <a:r>
              <a:rPr lang="en-US" sz="1100" dirty="0">
                <a:solidFill>
                  <a:schemeClr val="lt1"/>
                </a:solidFill>
                <a:latin typeface="Abel" panose="020B0604020202020204" charset="0"/>
                <a:ea typeface="Encode Sans Semi Condensed"/>
                <a:cs typeface="Encode Sans Semi Condensed"/>
                <a:sym typeface="Encode Sans Semi Condensed"/>
              </a:rPr>
              <a:t>(Data collections and reporting was reliable and neutral)</a:t>
            </a:r>
          </a:p>
          <a:p>
            <a:pPr marL="171450" indent="-171450">
              <a:buClr>
                <a:schemeClr val="bg1"/>
              </a:buClr>
              <a:buFont typeface="Arial" panose="020B0604020202020204" pitchFamily="34" charset="0"/>
              <a:buChar char="•"/>
            </a:pPr>
            <a:endParaRPr lang="en-US" sz="1000" dirty="0">
              <a:solidFill>
                <a:schemeClr val="bg1"/>
              </a:solidFill>
              <a:latin typeface="Abel" panose="020B0604020202020204" charset="0"/>
            </a:endParaRPr>
          </a:p>
        </p:txBody>
      </p:sp>
      <p:grpSp>
        <p:nvGrpSpPr>
          <p:cNvPr id="33" name="Big_data" descr="{&quot;Key&quot;:&quot;POWER_USER_SHAPE_ICON&quot;,&quot;Value&quot;:&quot;POWER_USER_SHAPE_ICON_STYLE_1&quot;}">
            <a:extLst>
              <a:ext uri="{FF2B5EF4-FFF2-40B4-BE49-F238E27FC236}">
                <a16:creationId xmlns:a16="http://schemas.microsoft.com/office/drawing/2014/main" id="{BCF905AF-8B4C-4389-81F8-89AD5639596D}"/>
              </a:ext>
            </a:extLst>
          </p:cNvPr>
          <p:cNvGrpSpPr>
            <a:grpSpLocks noChangeAspect="1"/>
          </p:cNvGrpSpPr>
          <p:nvPr>
            <p:custDataLst>
              <p:tags r:id="rId1"/>
            </p:custDataLst>
          </p:nvPr>
        </p:nvGrpSpPr>
        <p:grpSpPr>
          <a:xfrm>
            <a:off x="3514366" y="1474841"/>
            <a:ext cx="792437" cy="671059"/>
            <a:chOff x="2879725" y="4430713"/>
            <a:chExt cx="901701" cy="763587"/>
          </a:xfrm>
          <a:solidFill>
            <a:schemeClr val="accent6">
              <a:lumMod val="60000"/>
              <a:lumOff val="40000"/>
            </a:schemeClr>
          </a:solidFill>
        </p:grpSpPr>
        <p:sp>
          <p:nvSpPr>
            <p:cNvPr id="34" name="Freeform 192">
              <a:extLst>
                <a:ext uri="{FF2B5EF4-FFF2-40B4-BE49-F238E27FC236}">
                  <a16:creationId xmlns:a16="http://schemas.microsoft.com/office/drawing/2014/main" id="{C2DBAE5F-863D-4CFC-88F7-FB1BB017C8E0}"/>
                </a:ext>
              </a:extLst>
            </p:cNvPr>
            <p:cNvSpPr>
              <a:spLocks/>
            </p:cNvSpPr>
            <p:nvPr/>
          </p:nvSpPr>
          <p:spPr bwMode="auto">
            <a:xfrm>
              <a:off x="3532188" y="4525963"/>
              <a:ext cx="79375" cy="136525"/>
            </a:xfrm>
            <a:custGeom>
              <a:avLst/>
              <a:gdLst>
                <a:gd name="T0" fmla="*/ 79 w 113"/>
                <a:gd name="T1" fmla="*/ 192 h 192"/>
                <a:gd name="T2" fmla="*/ 79 w 113"/>
                <a:gd name="T3" fmla="*/ 108 h 192"/>
                <a:gd name="T4" fmla="*/ 113 w 113"/>
                <a:gd name="T5" fmla="*/ 57 h 192"/>
                <a:gd name="T6" fmla="*/ 57 w 113"/>
                <a:gd name="T7" fmla="*/ 0 h 192"/>
                <a:gd name="T8" fmla="*/ 0 w 113"/>
                <a:gd name="T9" fmla="*/ 57 h 192"/>
                <a:gd name="T10" fmla="*/ 34 w 113"/>
                <a:gd name="T11" fmla="*/ 108 h 192"/>
                <a:gd name="T12" fmla="*/ 34 w 113"/>
                <a:gd name="T13" fmla="*/ 169 h 192"/>
                <a:gd name="T14" fmla="*/ 79 w 113"/>
                <a:gd name="T15" fmla="*/ 19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92">
                  <a:moveTo>
                    <a:pt x="79" y="192"/>
                  </a:moveTo>
                  <a:lnTo>
                    <a:pt x="79" y="108"/>
                  </a:lnTo>
                  <a:cubicBezTo>
                    <a:pt x="100" y="100"/>
                    <a:pt x="113" y="79"/>
                    <a:pt x="113" y="57"/>
                  </a:cubicBezTo>
                  <a:cubicBezTo>
                    <a:pt x="113" y="26"/>
                    <a:pt x="88" y="0"/>
                    <a:pt x="57" y="0"/>
                  </a:cubicBezTo>
                  <a:cubicBezTo>
                    <a:pt x="26" y="0"/>
                    <a:pt x="0" y="26"/>
                    <a:pt x="0" y="57"/>
                  </a:cubicBezTo>
                  <a:cubicBezTo>
                    <a:pt x="0" y="79"/>
                    <a:pt x="14" y="100"/>
                    <a:pt x="34" y="108"/>
                  </a:cubicBezTo>
                  <a:lnTo>
                    <a:pt x="34" y="169"/>
                  </a:lnTo>
                  <a:cubicBezTo>
                    <a:pt x="51" y="176"/>
                    <a:pt x="66" y="184"/>
                    <a:pt x="79" y="1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93">
              <a:extLst>
                <a:ext uri="{FF2B5EF4-FFF2-40B4-BE49-F238E27FC236}">
                  <a16:creationId xmlns:a16="http://schemas.microsoft.com/office/drawing/2014/main" id="{08CBFDC5-65EF-4705-8DD2-60E4EB06BC39}"/>
                </a:ext>
              </a:extLst>
            </p:cNvPr>
            <p:cNvSpPr>
              <a:spLocks noEditPoints="1"/>
            </p:cNvSpPr>
            <p:nvPr/>
          </p:nvSpPr>
          <p:spPr bwMode="auto">
            <a:xfrm>
              <a:off x="3235325" y="4430713"/>
              <a:ext cx="517525" cy="319088"/>
            </a:xfrm>
            <a:custGeom>
              <a:avLst/>
              <a:gdLst>
                <a:gd name="T0" fmla="*/ 655 w 728"/>
                <a:gd name="T1" fmla="*/ 407 h 449"/>
                <a:gd name="T2" fmla="*/ 624 w 728"/>
                <a:gd name="T3" fmla="*/ 376 h 449"/>
                <a:gd name="T4" fmla="*/ 655 w 728"/>
                <a:gd name="T5" fmla="*/ 345 h 449"/>
                <a:gd name="T6" fmla="*/ 685 w 728"/>
                <a:gd name="T7" fmla="*/ 376 h 449"/>
                <a:gd name="T8" fmla="*/ 655 w 728"/>
                <a:gd name="T9" fmla="*/ 407 h 449"/>
                <a:gd name="T10" fmla="*/ 74 w 728"/>
                <a:gd name="T11" fmla="*/ 42 h 449"/>
                <a:gd name="T12" fmla="*/ 105 w 728"/>
                <a:gd name="T13" fmla="*/ 73 h 449"/>
                <a:gd name="T14" fmla="*/ 74 w 728"/>
                <a:gd name="T15" fmla="*/ 104 h 449"/>
                <a:gd name="T16" fmla="*/ 43 w 728"/>
                <a:gd name="T17" fmla="*/ 73 h 449"/>
                <a:gd name="T18" fmla="*/ 74 w 728"/>
                <a:gd name="T19" fmla="*/ 42 h 449"/>
                <a:gd name="T20" fmla="*/ 74 w 728"/>
                <a:gd name="T21" fmla="*/ 147 h 449"/>
                <a:gd name="T22" fmla="*/ 143 w 728"/>
                <a:gd name="T23" fmla="*/ 98 h 449"/>
                <a:gd name="T24" fmla="*/ 632 w 728"/>
                <a:gd name="T25" fmla="*/ 98 h 449"/>
                <a:gd name="T26" fmla="*/ 632 w 728"/>
                <a:gd name="T27" fmla="*/ 306 h 449"/>
                <a:gd name="T28" fmla="*/ 581 w 728"/>
                <a:gd name="T29" fmla="*/ 376 h 449"/>
                <a:gd name="T30" fmla="*/ 655 w 728"/>
                <a:gd name="T31" fmla="*/ 449 h 449"/>
                <a:gd name="T32" fmla="*/ 728 w 728"/>
                <a:gd name="T33" fmla="*/ 376 h 449"/>
                <a:gd name="T34" fmla="*/ 677 w 728"/>
                <a:gd name="T35" fmla="*/ 306 h 449"/>
                <a:gd name="T36" fmla="*/ 677 w 728"/>
                <a:gd name="T37" fmla="*/ 75 h 449"/>
                <a:gd name="T38" fmla="*/ 655 w 728"/>
                <a:gd name="T39" fmla="*/ 53 h 449"/>
                <a:gd name="T40" fmla="*/ 145 w 728"/>
                <a:gd name="T41" fmla="*/ 53 h 449"/>
                <a:gd name="T42" fmla="*/ 74 w 728"/>
                <a:gd name="T43" fmla="*/ 0 h 449"/>
                <a:gd name="T44" fmla="*/ 0 w 728"/>
                <a:gd name="T45" fmla="*/ 73 h 449"/>
                <a:gd name="T46" fmla="*/ 74 w 728"/>
                <a:gd name="T47" fmla="*/ 14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449">
                  <a:moveTo>
                    <a:pt x="655" y="407"/>
                  </a:moveTo>
                  <a:cubicBezTo>
                    <a:pt x="637" y="407"/>
                    <a:pt x="624" y="393"/>
                    <a:pt x="624" y="376"/>
                  </a:cubicBezTo>
                  <a:cubicBezTo>
                    <a:pt x="624" y="359"/>
                    <a:pt x="637" y="345"/>
                    <a:pt x="655" y="345"/>
                  </a:cubicBezTo>
                  <a:cubicBezTo>
                    <a:pt x="672" y="345"/>
                    <a:pt x="685" y="359"/>
                    <a:pt x="685" y="376"/>
                  </a:cubicBezTo>
                  <a:cubicBezTo>
                    <a:pt x="685" y="393"/>
                    <a:pt x="672" y="407"/>
                    <a:pt x="655" y="407"/>
                  </a:cubicBezTo>
                  <a:close/>
                  <a:moveTo>
                    <a:pt x="74" y="42"/>
                  </a:moveTo>
                  <a:cubicBezTo>
                    <a:pt x="91" y="42"/>
                    <a:pt x="105" y="56"/>
                    <a:pt x="105" y="73"/>
                  </a:cubicBezTo>
                  <a:cubicBezTo>
                    <a:pt x="105" y="90"/>
                    <a:pt x="91" y="104"/>
                    <a:pt x="74" y="104"/>
                  </a:cubicBezTo>
                  <a:cubicBezTo>
                    <a:pt x="57" y="104"/>
                    <a:pt x="43" y="90"/>
                    <a:pt x="43" y="73"/>
                  </a:cubicBezTo>
                  <a:cubicBezTo>
                    <a:pt x="43" y="56"/>
                    <a:pt x="57" y="42"/>
                    <a:pt x="74" y="42"/>
                  </a:cubicBezTo>
                  <a:close/>
                  <a:moveTo>
                    <a:pt x="74" y="147"/>
                  </a:moveTo>
                  <a:cubicBezTo>
                    <a:pt x="105" y="147"/>
                    <a:pt x="133" y="127"/>
                    <a:pt x="143" y="98"/>
                  </a:cubicBezTo>
                  <a:lnTo>
                    <a:pt x="632" y="98"/>
                  </a:lnTo>
                  <a:lnTo>
                    <a:pt x="632" y="306"/>
                  </a:lnTo>
                  <a:cubicBezTo>
                    <a:pt x="602" y="315"/>
                    <a:pt x="581" y="344"/>
                    <a:pt x="581" y="376"/>
                  </a:cubicBezTo>
                  <a:cubicBezTo>
                    <a:pt x="581" y="416"/>
                    <a:pt x="614" y="449"/>
                    <a:pt x="655" y="449"/>
                  </a:cubicBezTo>
                  <a:cubicBezTo>
                    <a:pt x="695" y="449"/>
                    <a:pt x="728" y="416"/>
                    <a:pt x="728" y="376"/>
                  </a:cubicBezTo>
                  <a:cubicBezTo>
                    <a:pt x="728" y="344"/>
                    <a:pt x="707" y="315"/>
                    <a:pt x="677" y="306"/>
                  </a:cubicBezTo>
                  <a:lnTo>
                    <a:pt x="677" y="75"/>
                  </a:lnTo>
                  <a:cubicBezTo>
                    <a:pt x="677" y="63"/>
                    <a:pt x="667" y="53"/>
                    <a:pt x="655" y="53"/>
                  </a:cubicBezTo>
                  <a:lnTo>
                    <a:pt x="145" y="53"/>
                  </a:lnTo>
                  <a:cubicBezTo>
                    <a:pt x="135" y="21"/>
                    <a:pt x="107" y="0"/>
                    <a:pt x="74" y="0"/>
                  </a:cubicBezTo>
                  <a:cubicBezTo>
                    <a:pt x="33" y="0"/>
                    <a:pt x="0" y="33"/>
                    <a:pt x="0" y="73"/>
                  </a:cubicBezTo>
                  <a:cubicBezTo>
                    <a:pt x="0" y="114"/>
                    <a:pt x="33" y="147"/>
                    <a:pt x="74" y="1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94">
              <a:extLst>
                <a:ext uri="{FF2B5EF4-FFF2-40B4-BE49-F238E27FC236}">
                  <a16:creationId xmlns:a16="http://schemas.microsoft.com/office/drawing/2014/main" id="{1B5D66D4-9125-4BD7-96B8-000C9006EF35}"/>
                </a:ext>
              </a:extLst>
            </p:cNvPr>
            <p:cNvSpPr>
              <a:spLocks noEditPoints="1"/>
            </p:cNvSpPr>
            <p:nvPr/>
          </p:nvSpPr>
          <p:spPr bwMode="auto">
            <a:xfrm>
              <a:off x="3284538" y="4525963"/>
              <a:ext cx="190500" cy="106363"/>
            </a:xfrm>
            <a:custGeom>
              <a:avLst/>
              <a:gdLst>
                <a:gd name="T0" fmla="*/ 194 w 268"/>
                <a:gd name="T1" fmla="*/ 43 h 148"/>
                <a:gd name="T2" fmla="*/ 225 w 268"/>
                <a:gd name="T3" fmla="*/ 74 h 148"/>
                <a:gd name="T4" fmla="*/ 194 w 268"/>
                <a:gd name="T5" fmla="*/ 105 h 148"/>
                <a:gd name="T6" fmla="*/ 163 w 268"/>
                <a:gd name="T7" fmla="*/ 74 h 148"/>
                <a:gd name="T8" fmla="*/ 194 w 268"/>
                <a:gd name="T9" fmla="*/ 43 h 148"/>
                <a:gd name="T10" fmla="*/ 45 w 268"/>
                <a:gd name="T11" fmla="*/ 140 h 148"/>
                <a:gd name="T12" fmla="*/ 45 w 268"/>
                <a:gd name="T13" fmla="*/ 97 h 148"/>
                <a:gd name="T14" fmla="*/ 124 w 268"/>
                <a:gd name="T15" fmla="*/ 97 h 148"/>
                <a:gd name="T16" fmla="*/ 194 w 268"/>
                <a:gd name="T17" fmla="*/ 148 h 148"/>
                <a:gd name="T18" fmla="*/ 268 w 268"/>
                <a:gd name="T19" fmla="*/ 74 h 148"/>
                <a:gd name="T20" fmla="*/ 194 w 268"/>
                <a:gd name="T21" fmla="*/ 0 h 148"/>
                <a:gd name="T22" fmla="*/ 124 w 268"/>
                <a:gd name="T23" fmla="*/ 52 h 148"/>
                <a:gd name="T24" fmla="*/ 23 w 268"/>
                <a:gd name="T25" fmla="*/ 52 h 148"/>
                <a:gd name="T26" fmla="*/ 0 w 268"/>
                <a:gd name="T27" fmla="*/ 74 h 148"/>
                <a:gd name="T28" fmla="*/ 0 w 268"/>
                <a:gd name="T29" fmla="*/ 126 h 148"/>
                <a:gd name="T30" fmla="*/ 45 w 268"/>
                <a:gd name="T31"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8" h="148">
                  <a:moveTo>
                    <a:pt x="194" y="43"/>
                  </a:moveTo>
                  <a:cubicBezTo>
                    <a:pt x="211" y="43"/>
                    <a:pt x="225" y="57"/>
                    <a:pt x="225" y="74"/>
                  </a:cubicBezTo>
                  <a:cubicBezTo>
                    <a:pt x="225" y="91"/>
                    <a:pt x="211" y="105"/>
                    <a:pt x="194" y="105"/>
                  </a:cubicBezTo>
                  <a:cubicBezTo>
                    <a:pt x="177" y="105"/>
                    <a:pt x="163" y="91"/>
                    <a:pt x="163" y="74"/>
                  </a:cubicBezTo>
                  <a:cubicBezTo>
                    <a:pt x="163" y="57"/>
                    <a:pt x="177" y="43"/>
                    <a:pt x="194" y="43"/>
                  </a:cubicBezTo>
                  <a:close/>
                  <a:moveTo>
                    <a:pt x="45" y="140"/>
                  </a:moveTo>
                  <a:lnTo>
                    <a:pt x="45" y="97"/>
                  </a:lnTo>
                  <a:lnTo>
                    <a:pt x="124" y="97"/>
                  </a:lnTo>
                  <a:cubicBezTo>
                    <a:pt x="134" y="127"/>
                    <a:pt x="162" y="148"/>
                    <a:pt x="194" y="148"/>
                  </a:cubicBezTo>
                  <a:cubicBezTo>
                    <a:pt x="235" y="148"/>
                    <a:pt x="268" y="115"/>
                    <a:pt x="268" y="74"/>
                  </a:cubicBezTo>
                  <a:cubicBezTo>
                    <a:pt x="268" y="34"/>
                    <a:pt x="235" y="0"/>
                    <a:pt x="194" y="0"/>
                  </a:cubicBezTo>
                  <a:cubicBezTo>
                    <a:pt x="162" y="0"/>
                    <a:pt x="134" y="21"/>
                    <a:pt x="124" y="52"/>
                  </a:cubicBezTo>
                  <a:lnTo>
                    <a:pt x="23" y="52"/>
                  </a:lnTo>
                  <a:cubicBezTo>
                    <a:pt x="10" y="52"/>
                    <a:pt x="0" y="62"/>
                    <a:pt x="0" y="74"/>
                  </a:cubicBezTo>
                  <a:lnTo>
                    <a:pt x="0" y="126"/>
                  </a:lnTo>
                  <a:cubicBezTo>
                    <a:pt x="16" y="130"/>
                    <a:pt x="31" y="134"/>
                    <a:pt x="45"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95">
              <a:extLst>
                <a:ext uri="{FF2B5EF4-FFF2-40B4-BE49-F238E27FC236}">
                  <a16:creationId xmlns:a16="http://schemas.microsoft.com/office/drawing/2014/main" id="{DC28966B-2703-40E5-8813-2BA9C0DABF2E}"/>
                </a:ext>
              </a:extLst>
            </p:cNvPr>
            <p:cNvSpPr>
              <a:spLocks/>
            </p:cNvSpPr>
            <p:nvPr/>
          </p:nvSpPr>
          <p:spPr bwMode="auto">
            <a:xfrm>
              <a:off x="3162300" y="4754563"/>
              <a:ext cx="179388" cy="225425"/>
            </a:xfrm>
            <a:custGeom>
              <a:avLst/>
              <a:gdLst>
                <a:gd name="T0" fmla="*/ 0 w 252"/>
                <a:gd name="T1" fmla="*/ 214 h 317"/>
                <a:gd name="T2" fmla="*/ 18 w 252"/>
                <a:gd name="T3" fmla="*/ 300 h 317"/>
                <a:gd name="T4" fmla="*/ 98 w 252"/>
                <a:gd name="T5" fmla="*/ 315 h 317"/>
                <a:gd name="T6" fmla="*/ 61 w 252"/>
                <a:gd name="T7" fmla="*/ 214 h 317"/>
                <a:gd name="T8" fmla="*/ 215 w 252"/>
                <a:gd name="T9" fmla="*/ 60 h 317"/>
                <a:gd name="T10" fmla="*/ 252 w 252"/>
                <a:gd name="T11" fmla="*/ 64 h 317"/>
                <a:gd name="T12" fmla="*/ 202 w 252"/>
                <a:gd name="T13" fmla="*/ 0 h 317"/>
                <a:gd name="T14" fmla="*/ 0 w 252"/>
                <a:gd name="T15" fmla="*/ 214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17">
                  <a:moveTo>
                    <a:pt x="0" y="214"/>
                  </a:moveTo>
                  <a:cubicBezTo>
                    <a:pt x="0" y="245"/>
                    <a:pt x="7" y="273"/>
                    <a:pt x="18" y="300"/>
                  </a:cubicBezTo>
                  <a:cubicBezTo>
                    <a:pt x="44" y="313"/>
                    <a:pt x="81" y="317"/>
                    <a:pt x="98" y="315"/>
                  </a:cubicBezTo>
                  <a:cubicBezTo>
                    <a:pt x="75" y="288"/>
                    <a:pt x="61" y="253"/>
                    <a:pt x="61" y="214"/>
                  </a:cubicBezTo>
                  <a:cubicBezTo>
                    <a:pt x="61" y="129"/>
                    <a:pt x="130" y="60"/>
                    <a:pt x="215" y="60"/>
                  </a:cubicBezTo>
                  <a:cubicBezTo>
                    <a:pt x="231" y="60"/>
                    <a:pt x="244" y="62"/>
                    <a:pt x="252" y="64"/>
                  </a:cubicBezTo>
                  <a:cubicBezTo>
                    <a:pt x="245" y="46"/>
                    <a:pt x="217" y="9"/>
                    <a:pt x="202" y="0"/>
                  </a:cubicBezTo>
                  <a:cubicBezTo>
                    <a:pt x="90" y="7"/>
                    <a:pt x="0" y="100"/>
                    <a:pt x="0" y="2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96">
              <a:extLst>
                <a:ext uri="{FF2B5EF4-FFF2-40B4-BE49-F238E27FC236}">
                  <a16:creationId xmlns:a16="http://schemas.microsoft.com/office/drawing/2014/main" id="{DB5949DD-47BA-41A1-B66A-994858B0E5DF}"/>
                </a:ext>
              </a:extLst>
            </p:cNvPr>
            <p:cNvSpPr>
              <a:spLocks/>
            </p:cNvSpPr>
            <p:nvPr/>
          </p:nvSpPr>
          <p:spPr bwMode="auto">
            <a:xfrm>
              <a:off x="3370263" y="4660900"/>
              <a:ext cx="411163" cy="398463"/>
            </a:xfrm>
            <a:custGeom>
              <a:avLst/>
              <a:gdLst>
                <a:gd name="T0" fmla="*/ 577 w 577"/>
                <a:gd name="T1" fmla="*/ 363 h 561"/>
                <a:gd name="T2" fmla="*/ 370 w 577"/>
                <a:gd name="T3" fmla="*/ 166 h 561"/>
                <a:gd name="T4" fmla="*/ 268 w 577"/>
                <a:gd name="T5" fmla="*/ 44 h 561"/>
                <a:gd name="T6" fmla="*/ 58 w 577"/>
                <a:gd name="T7" fmla="*/ 30 h 561"/>
                <a:gd name="T8" fmla="*/ 96 w 577"/>
                <a:gd name="T9" fmla="*/ 80 h 561"/>
                <a:gd name="T10" fmla="*/ 241 w 577"/>
                <a:gd name="T11" fmla="*/ 98 h 561"/>
                <a:gd name="T12" fmla="*/ 321 w 577"/>
                <a:gd name="T13" fmla="*/ 214 h 561"/>
                <a:gd name="T14" fmla="*/ 350 w 577"/>
                <a:gd name="T15" fmla="*/ 229 h 561"/>
                <a:gd name="T16" fmla="*/ 380 w 577"/>
                <a:gd name="T17" fmla="*/ 226 h 561"/>
                <a:gd name="T18" fmla="*/ 517 w 577"/>
                <a:gd name="T19" fmla="*/ 363 h 561"/>
                <a:gd name="T20" fmla="*/ 380 w 577"/>
                <a:gd name="T21" fmla="*/ 501 h 561"/>
                <a:gd name="T22" fmla="*/ 66 w 577"/>
                <a:gd name="T23" fmla="*/ 501 h 561"/>
                <a:gd name="T24" fmla="*/ 0 w 577"/>
                <a:gd name="T25" fmla="*/ 561 h 561"/>
                <a:gd name="T26" fmla="*/ 380 w 577"/>
                <a:gd name="T27" fmla="*/ 561 h 561"/>
                <a:gd name="T28" fmla="*/ 577 w 577"/>
                <a:gd name="T29" fmla="*/ 36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7" h="561">
                  <a:moveTo>
                    <a:pt x="577" y="363"/>
                  </a:moveTo>
                  <a:cubicBezTo>
                    <a:pt x="577" y="251"/>
                    <a:pt x="484" y="160"/>
                    <a:pt x="370" y="166"/>
                  </a:cubicBezTo>
                  <a:cubicBezTo>
                    <a:pt x="351" y="114"/>
                    <a:pt x="320" y="76"/>
                    <a:pt x="268" y="44"/>
                  </a:cubicBezTo>
                  <a:cubicBezTo>
                    <a:pt x="212" y="8"/>
                    <a:pt x="123" y="0"/>
                    <a:pt x="58" y="30"/>
                  </a:cubicBezTo>
                  <a:cubicBezTo>
                    <a:pt x="72" y="46"/>
                    <a:pt x="85" y="62"/>
                    <a:pt x="96" y="80"/>
                  </a:cubicBezTo>
                  <a:cubicBezTo>
                    <a:pt x="133" y="69"/>
                    <a:pt x="191" y="64"/>
                    <a:pt x="241" y="98"/>
                  </a:cubicBezTo>
                  <a:cubicBezTo>
                    <a:pt x="298" y="136"/>
                    <a:pt x="312" y="179"/>
                    <a:pt x="321" y="214"/>
                  </a:cubicBezTo>
                  <a:cubicBezTo>
                    <a:pt x="323" y="224"/>
                    <a:pt x="335" y="231"/>
                    <a:pt x="350" y="229"/>
                  </a:cubicBezTo>
                  <a:cubicBezTo>
                    <a:pt x="362" y="227"/>
                    <a:pt x="372" y="226"/>
                    <a:pt x="380" y="226"/>
                  </a:cubicBezTo>
                  <a:cubicBezTo>
                    <a:pt x="456" y="226"/>
                    <a:pt x="517" y="288"/>
                    <a:pt x="517" y="363"/>
                  </a:cubicBezTo>
                  <a:cubicBezTo>
                    <a:pt x="517" y="439"/>
                    <a:pt x="456" y="501"/>
                    <a:pt x="380" y="501"/>
                  </a:cubicBezTo>
                  <a:lnTo>
                    <a:pt x="66" y="501"/>
                  </a:lnTo>
                  <a:cubicBezTo>
                    <a:pt x="47" y="523"/>
                    <a:pt x="25" y="543"/>
                    <a:pt x="0" y="561"/>
                  </a:cubicBezTo>
                  <a:lnTo>
                    <a:pt x="380" y="561"/>
                  </a:lnTo>
                  <a:cubicBezTo>
                    <a:pt x="489" y="561"/>
                    <a:pt x="577" y="472"/>
                    <a:pt x="577" y="3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97">
              <a:extLst>
                <a:ext uri="{FF2B5EF4-FFF2-40B4-BE49-F238E27FC236}">
                  <a16:creationId xmlns:a16="http://schemas.microsoft.com/office/drawing/2014/main" id="{ED7F4CE7-57C9-4B09-9224-C4A7D2F4A158}"/>
                </a:ext>
              </a:extLst>
            </p:cNvPr>
            <p:cNvSpPr>
              <a:spLocks noEditPoints="1"/>
            </p:cNvSpPr>
            <p:nvPr/>
          </p:nvSpPr>
          <p:spPr bwMode="auto">
            <a:xfrm>
              <a:off x="2879725" y="4638675"/>
              <a:ext cx="592138" cy="555625"/>
            </a:xfrm>
            <a:custGeom>
              <a:avLst/>
              <a:gdLst>
                <a:gd name="T0" fmla="*/ 284 w 830"/>
                <a:gd name="T1" fmla="*/ 411 h 781"/>
                <a:gd name="T2" fmla="*/ 376 w 830"/>
                <a:gd name="T3" fmla="*/ 98 h 781"/>
                <a:gd name="T4" fmla="*/ 487 w 830"/>
                <a:gd name="T5" fmla="*/ 70 h 781"/>
                <a:gd name="T6" fmla="*/ 689 w 830"/>
                <a:gd name="T7" fmla="*/ 189 h 781"/>
                <a:gd name="T8" fmla="*/ 598 w 830"/>
                <a:gd name="T9" fmla="*/ 503 h 781"/>
                <a:gd name="T10" fmla="*/ 487 w 830"/>
                <a:gd name="T11" fmla="*/ 531 h 781"/>
                <a:gd name="T12" fmla="*/ 284 w 830"/>
                <a:gd name="T13" fmla="*/ 411 h 781"/>
                <a:gd name="T14" fmla="*/ 488 w 830"/>
                <a:gd name="T15" fmla="*/ 601 h 781"/>
                <a:gd name="T16" fmla="*/ 631 w 830"/>
                <a:gd name="T17" fmla="*/ 564 h 781"/>
                <a:gd name="T18" fmla="*/ 750 w 830"/>
                <a:gd name="T19" fmla="*/ 156 h 781"/>
                <a:gd name="T20" fmla="*/ 487 w 830"/>
                <a:gd name="T21" fmla="*/ 0 h 781"/>
                <a:gd name="T22" fmla="*/ 343 w 830"/>
                <a:gd name="T23" fmla="*/ 37 h 781"/>
                <a:gd name="T24" fmla="*/ 222 w 830"/>
                <a:gd name="T25" fmla="*/ 441 h 781"/>
                <a:gd name="T26" fmla="*/ 53 w 830"/>
                <a:gd name="T27" fmla="*/ 585 h 781"/>
                <a:gd name="T28" fmla="*/ 48 w 830"/>
                <a:gd name="T29" fmla="*/ 747 h 781"/>
                <a:gd name="T30" fmla="*/ 128 w 830"/>
                <a:gd name="T31" fmla="*/ 781 h 781"/>
                <a:gd name="T32" fmla="*/ 210 w 830"/>
                <a:gd name="T33" fmla="*/ 741 h 781"/>
                <a:gd name="T34" fmla="*/ 353 w 830"/>
                <a:gd name="T35" fmla="*/ 569 h 781"/>
                <a:gd name="T36" fmla="*/ 488 w 830"/>
                <a:gd name="T37" fmla="*/ 60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0" h="781">
                  <a:moveTo>
                    <a:pt x="284" y="411"/>
                  </a:moveTo>
                  <a:cubicBezTo>
                    <a:pt x="224" y="299"/>
                    <a:pt x="264" y="159"/>
                    <a:pt x="376" y="98"/>
                  </a:cubicBezTo>
                  <a:cubicBezTo>
                    <a:pt x="411" y="79"/>
                    <a:pt x="449" y="70"/>
                    <a:pt x="487" y="70"/>
                  </a:cubicBezTo>
                  <a:cubicBezTo>
                    <a:pt x="568" y="70"/>
                    <a:pt x="647" y="113"/>
                    <a:pt x="689" y="189"/>
                  </a:cubicBezTo>
                  <a:cubicBezTo>
                    <a:pt x="750" y="301"/>
                    <a:pt x="709" y="441"/>
                    <a:pt x="598" y="503"/>
                  </a:cubicBezTo>
                  <a:cubicBezTo>
                    <a:pt x="562" y="522"/>
                    <a:pt x="525" y="531"/>
                    <a:pt x="487" y="531"/>
                  </a:cubicBezTo>
                  <a:cubicBezTo>
                    <a:pt x="406" y="531"/>
                    <a:pt x="327" y="487"/>
                    <a:pt x="284" y="411"/>
                  </a:cubicBezTo>
                  <a:close/>
                  <a:moveTo>
                    <a:pt x="488" y="601"/>
                  </a:moveTo>
                  <a:cubicBezTo>
                    <a:pt x="536" y="601"/>
                    <a:pt x="585" y="589"/>
                    <a:pt x="631" y="564"/>
                  </a:cubicBezTo>
                  <a:cubicBezTo>
                    <a:pt x="777" y="484"/>
                    <a:pt x="830" y="302"/>
                    <a:pt x="750" y="156"/>
                  </a:cubicBezTo>
                  <a:cubicBezTo>
                    <a:pt x="696" y="56"/>
                    <a:pt x="593" y="0"/>
                    <a:pt x="487" y="0"/>
                  </a:cubicBezTo>
                  <a:cubicBezTo>
                    <a:pt x="438" y="0"/>
                    <a:pt x="388" y="12"/>
                    <a:pt x="343" y="37"/>
                  </a:cubicBezTo>
                  <a:cubicBezTo>
                    <a:pt x="198" y="116"/>
                    <a:pt x="145" y="296"/>
                    <a:pt x="222" y="441"/>
                  </a:cubicBezTo>
                  <a:lnTo>
                    <a:pt x="53" y="585"/>
                  </a:lnTo>
                  <a:cubicBezTo>
                    <a:pt x="4" y="626"/>
                    <a:pt x="0" y="701"/>
                    <a:pt x="48" y="747"/>
                  </a:cubicBezTo>
                  <a:cubicBezTo>
                    <a:pt x="71" y="769"/>
                    <a:pt x="99" y="781"/>
                    <a:pt x="128" y="781"/>
                  </a:cubicBezTo>
                  <a:cubicBezTo>
                    <a:pt x="158" y="781"/>
                    <a:pt x="188" y="768"/>
                    <a:pt x="210" y="741"/>
                  </a:cubicBezTo>
                  <a:lnTo>
                    <a:pt x="353" y="569"/>
                  </a:lnTo>
                  <a:cubicBezTo>
                    <a:pt x="395" y="590"/>
                    <a:pt x="441" y="601"/>
                    <a:pt x="488" y="60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0" name="Technology_Radar" descr="{&quot;Key&quot;:&quot;POWER_USER_SHAPE_ICON&quot;,&quot;Value&quot;:&quot;POWER_USER_SHAPE_ICON_STYLE_1&quot;}">
            <a:extLst>
              <a:ext uri="{FF2B5EF4-FFF2-40B4-BE49-F238E27FC236}">
                <a16:creationId xmlns:a16="http://schemas.microsoft.com/office/drawing/2014/main" id="{2BAE73E2-2EE1-4FCD-9CFA-373DF2E09064}"/>
              </a:ext>
            </a:extLst>
          </p:cNvPr>
          <p:cNvGrpSpPr>
            <a:grpSpLocks noChangeAspect="1"/>
          </p:cNvGrpSpPr>
          <p:nvPr>
            <p:custDataLst>
              <p:tags r:id="rId2"/>
            </p:custDataLst>
          </p:nvPr>
        </p:nvGrpSpPr>
        <p:grpSpPr bwMode="auto">
          <a:xfrm>
            <a:off x="4716611" y="1558549"/>
            <a:ext cx="541633" cy="542925"/>
            <a:chOff x="33" y="33"/>
            <a:chExt cx="419" cy="420"/>
          </a:xfrm>
          <a:solidFill>
            <a:schemeClr val="accent6">
              <a:lumMod val="60000"/>
              <a:lumOff val="40000"/>
            </a:schemeClr>
          </a:solidFill>
        </p:grpSpPr>
        <p:sp>
          <p:nvSpPr>
            <p:cNvPr id="41" name="Technology_Radar">
              <a:extLst>
                <a:ext uri="{FF2B5EF4-FFF2-40B4-BE49-F238E27FC236}">
                  <a16:creationId xmlns:a16="http://schemas.microsoft.com/office/drawing/2014/main" id="{D1915F74-5B3F-4793-8694-DBDA5B28391E}"/>
                </a:ext>
              </a:extLst>
            </p:cNvPr>
            <p:cNvSpPr>
              <a:spLocks noEditPoints="1"/>
            </p:cNvSpPr>
            <p:nvPr>
              <p:custDataLst>
                <p:tags r:id="rId3"/>
              </p:custDataLst>
            </p:nvPr>
          </p:nvSpPr>
          <p:spPr bwMode="auto">
            <a:xfrm>
              <a:off x="33" y="33"/>
              <a:ext cx="419" cy="420"/>
            </a:xfrm>
            <a:custGeom>
              <a:avLst/>
              <a:gdLst>
                <a:gd name="T0" fmla="*/ 709 w 1116"/>
                <a:gd name="T1" fmla="*/ 800 h 1116"/>
                <a:gd name="T2" fmla="*/ 709 w 1116"/>
                <a:gd name="T3" fmla="*/ 784 h 1116"/>
                <a:gd name="T4" fmla="*/ 111 w 1116"/>
                <a:gd name="T5" fmla="*/ 611 h 1116"/>
                <a:gd name="T6" fmla="*/ 95 w 1116"/>
                <a:gd name="T7" fmla="*/ 611 h 1116"/>
                <a:gd name="T8" fmla="*/ 111 w 1116"/>
                <a:gd name="T9" fmla="*/ 611 h 1116"/>
                <a:gd name="T10" fmla="*/ 335 w 1116"/>
                <a:gd name="T11" fmla="*/ 726 h 1116"/>
                <a:gd name="T12" fmla="*/ 335 w 1116"/>
                <a:gd name="T13" fmla="*/ 710 h 1116"/>
                <a:gd name="T14" fmla="*/ 524 w 1116"/>
                <a:gd name="T15" fmla="*/ 1005 h 1116"/>
                <a:gd name="T16" fmla="*/ 508 w 1116"/>
                <a:gd name="T17" fmla="*/ 1005 h 1116"/>
                <a:gd name="T18" fmla="*/ 524 w 1116"/>
                <a:gd name="T19" fmla="*/ 1005 h 1116"/>
                <a:gd name="T20" fmla="*/ 1004 w 1116"/>
                <a:gd name="T21" fmla="*/ 639 h 1116"/>
                <a:gd name="T22" fmla="*/ 1004 w 1116"/>
                <a:gd name="T23" fmla="*/ 622 h 1116"/>
                <a:gd name="T24" fmla="*/ 731 w 1116"/>
                <a:gd name="T25" fmla="*/ 340 h 1116"/>
                <a:gd name="T26" fmla="*/ 715 w 1116"/>
                <a:gd name="T27" fmla="*/ 340 h 1116"/>
                <a:gd name="T28" fmla="*/ 731 w 1116"/>
                <a:gd name="T29" fmla="*/ 340 h 1116"/>
                <a:gd name="T30" fmla="*/ 274 w 1116"/>
                <a:gd name="T31" fmla="*/ 194 h 1116"/>
                <a:gd name="T32" fmla="*/ 274 w 1116"/>
                <a:gd name="T33" fmla="*/ 178 h 1116"/>
                <a:gd name="T34" fmla="*/ 563 w 1116"/>
                <a:gd name="T35" fmla="*/ 552 h 1116"/>
                <a:gd name="T36" fmla="*/ 650 w 1116"/>
                <a:gd name="T37" fmla="*/ 1091 h 1116"/>
                <a:gd name="T38" fmla="*/ 1102 w 1116"/>
                <a:gd name="T39" fmla="*/ 469 h 1116"/>
                <a:gd name="T40" fmla="*/ 560 w 1116"/>
                <a:gd name="T41" fmla="*/ 554 h 1116"/>
                <a:gd name="T42" fmla="*/ 635 w 1116"/>
                <a:gd name="T43" fmla="*/ 14 h 1116"/>
                <a:gd name="T44" fmla="*/ 555 w 1116"/>
                <a:gd name="T45" fmla="*/ 556 h 1116"/>
                <a:gd name="T46" fmla="*/ 557 w 1116"/>
                <a:gd name="T47" fmla="*/ 557 h 1116"/>
                <a:gd name="T48" fmla="*/ 39 w 1116"/>
                <a:gd name="T49" fmla="*/ 384 h 1116"/>
                <a:gd name="T50" fmla="*/ 559 w 1116"/>
                <a:gd name="T51" fmla="*/ 741 h 1116"/>
                <a:gd name="T52" fmla="*/ 557 w 1116"/>
                <a:gd name="T53" fmla="*/ 375 h 1116"/>
                <a:gd name="T54" fmla="*/ 927 w 1116"/>
                <a:gd name="T55" fmla="*/ 556 h 1116"/>
                <a:gd name="T56" fmla="*/ 189 w 1116"/>
                <a:gd name="T57" fmla="*/ 560 h 1116"/>
                <a:gd name="T58" fmla="*/ 927 w 1116"/>
                <a:gd name="T59" fmla="*/ 556 h 1116"/>
                <a:gd name="T60" fmla="*/ 561 w 1116"/>
                <a:gd name="T61" fmla="*/ 1115 h 1116"/>
                <a:gd name="T62" fmla="*/ 555 w 1116"/>
                <a:gd name="T63" fmla="*/ 1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6" h="1116">
                  <a:moveTo>
                    <a:pt x="717" y="792"/>
                  </a:moveTo>
                  <a:cubicBezTo>
                    <a:pt x="717" y="796"/>
                    <a:pt x="713" y="800"/>
                    <a:pt x="709" y="800"/>
                  </a:cubicBezTo>
                  <a:cubicBezTo>
                    <a:pt x="704" y="800"/>
                    <a:pt x="700" y="796"/>
                    <a:pt x="700" y="792"/>
                  </a:cubicBezTo>
                  <a:cubicBezTo>
                    <a:pt x="700" y="788"/>
                    <a:pt x="704" y="784"/>
                    <a:pt x="709" y="784"/>
                  </a:cubicBezTo>
                  <a:cubicBezTo>
                    <a:pt x="713" y="784"/>
                    <a:pt x="717" y="788"/>
                    <a:pt x="717" y="792"/>
                  </a:cubicBezTo>
                  <a:close/>
                  <a:moveTo>
                    <a:pt x="111" y="611"/>
                  </a:moveTo>
                  <a:cubicBezTo>
                    <a:pt x="111" y="616"/>
                    <a:pt x="107" y="619"/>
                    <a:pt x="103" y="619"/>
                  </a:cubicBezTo>
                  <a:cubicBezTo>
                    <a:pt x="98" y="619"/>
                    <a:pt x="95" y="616"/>
                    <a:pt x="95" y="611"/>
                  </a:cubicBezTo>
                  <a:cubicBezTo>
                    <a:pt x="95" y="607"/>
                    <a:pt x="98" y="603"/>
                    <a:pt x="103" y="603"/>
                  </a:cubicBezTo>
                  <a:cubicBezTo>
                    <a:pt x="107" y="603"/>
                    <a:pt x="111" y="607"/>
                    <a:pt x="111" y="611"/>
                  </a:cubicBezTo>
                  <a:close/>
                  <a:moveTo>
                    <a:pt x="343" y="718"/>
                  </a:moveTo>
                  <a:cubicBezTo>
                    <a:pt x="343" y="722"/>
                    <a:pt x="340" y="726"/>
                    <a:pt x="335" y="726"/>
                  </a:cubicBezTo>
                  <a:cubicBezTo>
                    <a:pt x="331" y="726"/>
                    <a:pt x="327" y="722"/>
                    <a:pt x="327" y="718"/>
                  </a:cubicBezTo>
                  <a:cubicBezTo>
                    <a:pt x="327" y="713"/>
                    <a:pt x="331" y="710"/>
                    <a:pt x="335" y="710"/>
                  </a:cubicBezTo>
                  <a:cubicBezTo>
                    <a:pt x="340" y="710"/>
                    <a:pt x="343" y="713"/>
                    <a:pt x="343" y="718"/>
                  </a:cubicBezTo>
                  <a:close/>
                  <a:moveTo>
                    <a:pt x="524" y="1005"/>
                  </a:moveTo>
                  <a:cubicBezTo>
                    <a:pt x="524" y="1010"/>
                    <a:pt x="521" y="1013"/>
                    <a:pt x="516" y="1013"/>
                  </a:cubicBezTo>
                  <a:cubicBezTo>
                    <a:pt x="512" y="1013"/>
                    <a:pt x="508" y="1010"/>
                    <a:pt x="508" y="1005"/>
                  </a:cubicBezTo>
                  <a:cubicBezTo>
                    <a:pt x="508" y="1001"/>
                    <a:pt x="512" y="997"/>
                    <a:pt x="516" y="997"/>
                  </a:cubicBezTo>
                  <a:cubicBezTo>
                    <a:pt x="521" y="997"/>
                    <a:pt x="524" y="1001"/>
                    <a:pt x="524" y="1005"/>
                  </a:cubicBezTo>
                  <a:close/>
                  <a:moveTo>
                    <a:pt x="1012" y="630"/>
                  </a:moveTo>
                  <a:cubicBezTo>
                    <a:pt x="1012" y="635"/>
                    <a:pt x="1009" y="639"/>
                    <a:pt x="1004" y="639"/>
                  </a:cubicBezTo>
                  <a:cubicBezTo>
                    <a:pt x="1000" y="639"/>
                    <a:pt x="996" y="635"/>
                    <a:pt x="996" y="630"/>
                  </a:cubicBezTo>
                  <a:cubicBezTo>
                    <a:pt x="996" y="626"/>
                    <a:pt x="1000" y="622"/>
                    <a:pt x="1004" y="622"/>
                  </a:cubicBezTo>
                  <a:cubicBezTo>
                    <a:pt x="1009" y="622"/>
                    <a:pt x="1012" y="626"/>
                    <a:pt x="1012" y="630"/>
                  </a:cubicBezTo>
                  <a:close/>
                  <a:moveTo>
                    <a:pt x="731" y="340"/>
                  </a:moveTo>
                  <a:cubicBezTo>
                    <a:pt x="731" y="344"/>
                    <a:pt x="728" y="348"/>
                    <a:pt x="723" y="348"/>
                  </a:cubicBezTo>
                  <a:cubicBezTo>
                    <a:pt x="719" y="348"/>
                    <a:pt x="715" y="344"/>
                    <a:pt x="715" y="340"/>
                  </a:cubicBezTo>
                  <a:cubicBezTo>
                    <a:pt x="715" y="335"/>
                    <a:pt x="719" y="332"/>
                    <a:pt x="723" y="332"/>
                  </a:cubicBezTo>
                  <a:cubicBezTo>
                    <a:pt x="728" y="332"/>
                    <a:pt x="731" y="335"/>
                    <a:pt x="731" y="340"/>
                  </a:cubicBezTo>
                  <a:close/>
                  <a:moveTo>
                    <a:pt x="282" y="186"/>
                  </a:moveTo>
                  <a:cubicBezTo>
                    <a:pt x="282" y="191"/>
                    <a:pt x="278" y="194"/>
                    <a:pt x="274" y="194"/>
                  </a:cubicBezTo>
                  <a:cubicBezTo>
                    <a:pt x="269" y="194"/>
                    <a:pt x="266" y="191"/>
                    <a:pt x="266" y="186"/>
                  </a:cubicBezTo>
                  <a:cubicBezTo>
                    <a:pt x="266" y="182"/>
                    <a:pt x="269" y="178"/>
                    <a:pt x="274" y="178"/>
                  </a:cubicBezTo>
                  <a:cubicBezTo>
                    <a:pt x="278" y="178"/>
                    <a:pt x="282" y="182"/>
                    <a:pt x="282" y="186"/>
                  </a:cubicBezTo>
                  <a:close/>
                  <a:moveTo>
                    <a:pt x="563" y="552"/>
                  </a:moveTo>
                  <a:cubicBezTo>
                    <a:pt x="649" y="1090"/>
                    <a:pt x="650" y="1091"/>
                    <a:pt x="650" y="1091"/>
                  </a:cubicBezTo>
                  <a:lnTo>
                    <a:pt x="650" y="1091"/>
                  </a:lnTo>
                  <a:moveTo>
                    <a:pt x="564" y="560"/>
                  </a:moveTo>
                  <a:cubicBezTo>
                    <a:pt x="1101" y="470"/>
                    <a:pt x="1102" y="469"/>
                    <a:pt x="1102" y="469"/>
                  </a:cubicBezTo>
                  <a:lnTo>
                    <a:pt x="1102" y="469"/>
                  </a:lnTo>
                  <a:moveTo>
                    <a:pt x="560" y="554"/>
                  </a:moveTo>
                  <a:cubicBezTo>
                    <a:pt x="636" y="15"/>
                    <a:pt x="635" y="14"/>
                    <a:pt x="635" y="14"/>
                  </a:cubicBezTo>
                  <a:lnTo>
                    <a:pt x="635" y="14"/>
                  </a:lnTo>
                  <a:moveTo>
                    <a:pt x="258" y="1014"/>
                  </a:moveTo>
                  <a:cubicBezTo>
                    <a:pt x="554" y="557"/>
                    <a:pt x="555" y="556"/>
                    <a:pt x="555" y="556"/>
                  </a:cubicBezTo>
                  <a:lnTo>
                    <a:pt x="555" y="556"/>
                  </a:lnTo>
                  <a:moveTo>
                    <a:pt x="557" y="557"/>
                  </a:moveTo>
                  <a:cubicBezTo>
                    <a:pt x="41" y="384"/>
                    <a:pt x="39" y="384"/>
                    <a:pt x="39" y="384"/>
                  </a:cubicBezTo>
                  <a:lnTo>
                    <a:pt x="39" y="384"/>
                  </a:lnTo>
                  <a:moveTo>
                    <a:pt x="741" y="557"/>
                  </a:moveTo>
                  <a:cubicBezTo>
                    <a:pt x="742" y="658"/>
                    <a:pt x="660" y="741"/>
                    <a:pt x="559" y="741"/>
                  </a:cubicBezTo>
                  <a:cubicBezTo>
                    <a:pt x="458" y="742"/>
                    <a:pt x="375" y="660"/>
                    <a:pt x="375" y="559"/>
                  </a:cubicBezTo>
                  <a:cubicBezTo>
                    <a:pt x="374" y="458"/>
                    <a:pt x="456" y="375"/>
                    <a:pt x="557" y="375"/>
                  </a:cubicBezTo>
                  <a:cubicBezTo>
                    <a:pt x="658" y="374"/>
                    <a:pt x="741" y="456"/>
                    <a:pt x="741" y="557"/>
                  </a:cubicBezTo>
                  <a:close/>
                  <a:moveTo>
                    <a:pt x="927" y="556"/>
                  </a:moveTo>
                  <a:cubicBezTo>
                    <a:pt x="928" y="760"/>
                    <a:pt x="764" y="926"/>
                    <a:pt x="560" y="927"/>
                  </a:cubicBezTo>
                  <a:cubicBezTo>
                    <a:pt x="356" y="928"/>
                    <a:pt x="190" y="764"/>
                    <a:pt x="189" y="560"/>
                  </a:cubicBezTo>
                  <a:cubicBezTo>
                    <a:pt x="188" y="356"/>
                    <a:pt x="352" y="190"/>
                    <a:pt x="556" y="189"/>
                  </a:cubicBezTo>
                  <a:cubicBezTo>
                    <a:pt x="760" y="188"/>
                    <a:pt x="926" y="352"/>
                    <a:pt x="927" y="556"/>
                  </a:cubicBezTo>
                  <a:close/>
                  <a:moveTo>
                    <a:pt x="1115" y="555"/>
                  </a:moveTo>
                  <a:cubicBezTo>
                    <a:pt x="1116" y="863"/>
                    <a:pt x="868" y="1113"/>
                    <a:pt x="561" y="1115"/>
                  </a:cubicBezTo>
                  <a:cubicBezTo>
                    <a:pt x="253" y="1116"/>
                    <a:pt x="3" y="868"/>
                    <a:pt x="1" y="561"/>
                  </a:cubicBezTo>
                  <a:cubicBezTo>
                    <a:pt x="0" y="253"/>
                    <a:pt x="248" y="3"/>
                    <a:pt x="555" y="1"/>
                  </a:cubicBezTo>
                  <a:cubicBezTo>
                    <a:pt x="863" y="0"/>
                    <a:pt x="1113" y="248"/>
                    <a:pt x="1115" y="555"/>
                  </a:cubicBezTo>
                  <a:close/>
                </a:path>
              </a:pathLst>
            </a:custGeom>
            <a:grpFill/>
            <a:ln w="31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Technology_Radar">
              <a:extLst>
                <a:ext uri="{FF2B5EF4-FFF2-40B4-BE49-F238E27FC236}">
                  <a16:creationId xmlns:a16="http://schemas.microsoft.com/office/drawing/2014/main" id="{CEF743F1-1F7B-49A3-9144-199A5AAF3697}"/>
                </a:ext>
              </a:extLst>
            </p:cNvPr>
            <p:cNvSpPr>
              <a:spLocks noEditPoints="1"/>
            </p:cNvSpPr>
            <p:nvPr>
              <p:custDataLst>
                <p:tags r:id="rId4"/>
              </p:custDataLst>
            </p:nvPr>
          </p:nvSpPr>
          <p:spPr bwMode="auto">
            <a:xfrm>
              <a:off x="33" y="33"/>
              <a:ext cx="419" cy="420"/>
            </a:xfrm>
            <a:custGeom>
              <a:avLst/>
              <a:gdLst>
                <a:gd name="T0" fmla="*/ 709 w 1116"/>
                <a:gd name="T1" fmla="*/ 800 h 1116"/>
                <a:gd name="T2" fmla="*/ 709 w 1116"/>
                <a:gd name="T3" fmla="*/ 784 h 1116"/>
                <a:gd name="T4" fmla="*/ 111 w 1116"/>
                <a:gd name="T5" fmla="*/ 611 h 1116"/>
                <a:gd name="T6" fmla="*/ 95 w 1116"/>
                <a:gd name="T7" fmla="*/ 611 h 1116"/>
                <a:gd name="T8" fmla="*/ 111 w 1116"/>
                <a:gd name="T9" fmla="*/ 611 h 1116"/>
                <a:gd name="T10" fmla="*/ 335 w 1116"/>
                <a:gd name="T11" fmla="*/ 726 h 1116"/>
                <a:gd name="T12" fmla="*/ 335 w 1116"/>
                <a:gd name="T13" fmla="*/ 710 h 1116"/>
                <a:gd name="T14" fmla="*/ 524 w 1116"/>
                <a:gd name="T15" fmla="*/ 1005 h 1116"/>
                <a:gd name="T16" fmla="*/ 508 w 1116"/>
                <a:gd name="T17" fmla="*/ 1005 h 1116"/>
                <a:gd name="T18" fmla="*/ 524 w 1116"/>
                <a:gd name="T19" fmla="*/ 1005 h 1116"/>
                <a:gd name="T20" fmla="*/ 1004 w 1116"/>
                <a:gd name="T21" fmla="*/ 639 h 1116"/>
                <a:gd name="T22" fmla="*/ 1004 w 1116"/>
                <a:gd name="T23" fmla="*/ 622 h 1116"/>
                <a:gd name="T24" fmla="*/ 731 w 1116"/>
                <a:gd name="T25" fmla="*/ 340 h 1116"/>
                <a:gd name="T26" fmla="*/ 715 w 1116"/>
                <a:gd name="T27" fmla="*/ 340 h 1116"/>
                <a:gd name="T28" fmla="*/ 731 w 1116"/>
                <a:gd name="T29" fmla="*/ 340 h 1116"/>
                <a:gd name="T30" fmla="*/ 274 w 1116"/>
                <a:gd name="T31" fmla="*/ 194 h 1116"/>
                <a:gd name="T32" fmla="*/ 274 w 1116"/>
                <a:gd name="T33" fmla="*/ 178 h 1116"/>
                <a:gd name="T34" fmla="*/ 563 w 1116"/>
                <a:gd name="T35" fmla="*/ 552 h 1116"/>
                <a:gd name="T36" fmla="*/ 650 w 1116"/>
                <a:gd name="T37" fmla="*/ 1091 h 1116"/>
                <a:gd name="T38" fmla="*/ 1102 w 1116"/>
                <a:gd name="T39" fmla="*/ 469 h 1116"/>
                <a:gd name="T40" fmla="*/ 560 w 1116"/>
                <a:gd name="T41" fmla="*/ 554 h 1116"/>
                <a:gd name="T42" fmla="*/ 635 w 1116"/>
                <a:gd name="T43" fmla="*/ 14 h 1116"/>
                <a:gd name="T44" fmla="*/ 555 w 1116"/>
                <a:gd name="T45" fmla="*/ 556 h 1116"/>
                <a:gd name="T46" fmla="*/ 557 w 1116"/>
                <a:gd name="T47" fmla="*/ 557 h 1116"/>
                <a:gd name="T48" fmla="*/ 39 w 1116"/>
                <a:gd name="T49" fmla="*/ 384 h 1116"/>
                <a:gd name="T50" fmla="*/ 559 w 1116"/>
                <a:gd name="T51" fmla="*/ 741 h 1116"/>
                <a:gd name="T52" fmla="*/ 557 w 1116"/>
                <a:gd name="T53" fmla="*/ 375 h 1116"/>
                <a:gd name="T54" fmla="*/ 927 w 1116"/>
                <a:gd name="T55" fmla="*/ 556 h 1116"/>
                <a:gd name="T56" fmla="*/ 189 w 1116"/>
                <a:gd name="T57" fmla="*/ 560 h 1116"/>
                <a:gd name="T58" fmla="*/ 927 w 1116"/>
                <a:gd name="T59" fmla="*/ 556 h 1116"/>
                <a:gd name="T60" fmla="*/ 561 w 1116"/>
                <a:gd name="T61" fmla="*/ 1115 h 1116"/>
                <a:gd name="T62" fmla="*/ 555 w 1116"/>
                <a:gd name="T63" fmla="*/ 1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6" h="1116">
                  <a:moveTo>
                    <a:pt x="717" y="792"/>
                  </a:moveTo>
                  <a:cubicBezTo>
                    <a:pt x="717" y="796"/>
                    <a:pt x="713" y="800"/>
                    <a:pt x="709" y="800"/>
                  </a:cubicBezTo>
                  <a:cubicBezTo>
                    <a:pt x="704" y="800"/>
                    <a:pt x="700" y="796"/>
                    <a:pt x="700" y="792"/>
                  </a:cubicBezTo>
                  <a:cubicBezTo>
                    <a:pt x="700" y="788"/>
                    <a:pt x="704" y="784"/>
                    <a:pt x="709" y="784"/>
                  </a:cubicBezTo>
                  <a:cubicBezTo>
                    <a:pt x="713" y="784"/>
                    <a:pt x="717" y="788"/>
                    <a:pt x="717" y="792"/>
                  </a:cubicBezTo>
                  <a:close/>
                  <a:moveTo>
                    <a:pt x="111" y="611"/>
                  </a:moveTo>
                  <a:cubicBezTo>
                    <a:pt x="111" y="616"/>
                    <a:pt x="107" y="619"/>
                    <a:pt x="103" y="619"/>
                  </a:cubicBezTo>
                  <a:cubicBezTo>
                    <a:pt x="98" y="619"/>
                    <a:pt x="95" y="616"/>
                    <a:pt x="95" y="611"/>
                  </a:cubicBezTo>
                  <a:cubicBezTo>
                    <a:pt x="95" y="607"/>
                    <a:pt x="98" y="603"/>
                    <a:pt x="103" y="603"/>
                  </a:cubicBezTo>
                  <a:cubicBezTo>
                    <a:pt x="107" y="603"/>
                    <a:pt x="111" y="607"/>
                    <a:pt x="111" y="611"/>
                  </a:cubicBezTo>
                  <a:close/>
                  <a:moveTo>
                    <a:pt x="343" y="718"/>
                  </a:moveTo>
                  <a:cubicBezTo>
                    <a:pt x="343" y="722"/>
                    <a:pt x="340" y="726"/>
                    <a:pt x="335" y="726"/>
                  </a:cubicBezTo>
                  <a:cubicBezTo>
                    <a:pt x="331" y="726"/>
                    <a:pt x="327" y="722"/>
                    <a:pt x="327" y="718"/>
                  </a:cubicBezTo>
                  <a:cubicBezTo>
                    <a:pt x="327" y="713"/>
                    <a:pt x="331" y="710"/>
                    <a:pt x="335" y="710"/>
                  </a:cubicBezTo>
                  <a:cubicBezTo>
                    <a:pt x="340" y="710"/>
                    <a:pt x="343" y="713"/>
                    <a:pt x="343" y="718"/>
                  </a:cubicBezTo>
                  <a:close/>
                  <a:moveTo>
                    <a:pt x="524" y="1005"/>
                  </a:moveTo>
                  <a:cubicBezTo>
                    <a:pt x="524" y="1010"/>
                    <a:pt x="521" y="1013"/>
                    <a:pt x="516" y="1013"/>
                  </a:cubicBezTo>
                  <a:cubicBezTo>
                    <a:pt x="512" y="1013"/>
                    <a:pt x="508" y="1010"/>
                    <a:pt x="508" y="1005"/>
                  </a:cubicBezTo>
                  <a:cubicBezTo>
                    <a:pt x="508" y="1001"/>
                    <a:pt x="512" y="997"/>
                    <a:pt x="516" y="997"/>
                  </a:cubicBezTo>
                  <a:cubicBezTo>
                    <a:pt x="521" y="997"/>
                    <a:pt x="524" y="1001"/>
                    <a:pt x="524" y="1005"/>
                  </a:cubicBezTo>
                  <a:close/>
                  <a:moveTo>
                    <a:pt x="1012" y="630"/>
                  </a:moveTo>
                  <a:cubicBezTo>
                    <a:pt x="1012" y="635"/>
                    <a:pt x="1009" y="639"/>
                    <a:pt x="1004" y="639"/>
                  </a:cubicBezTo>
                  <a:cubicBezTo>
                    <a:pt x="1000" y="639"/>
                    <a:pt x="996" y="635"/>
                    <a:pt x="996" y="630"/>
                  </a:cubicBezTo>
                  <a:cubicBezTo>
                    <a:pt x="996" y="626"/>
                    <a:pt x="1000" y="622"/>
                    <a:pt x="1004" y="622"/>
                  </a:cubicBezTo>
                  <a:cubicBezTo>
                    <a:pt x="1009" y="622"/>
                    <a:pt x="1012" y="626"/>
                    <a:pt x="1012" y="630"/>
                  </a:cubicBezTo>
                  <a:close/>
                  <a:moveTo>
                    <a:pt x="731" y="340"/>
                  </a:moveTo>
                  <a:cubicBezTo>
                    <a:pt x="731" y="344"/>
                    <a:pt x="728" y="348"/>
                    <a:pt x="723" y="348"/>
                  </a:cubicBezTo>
                  <a:cubicBezTo>
                    <a:pt x="719" y="348"/>
                    <a:pt x="715" y="344"/>
                    <a:pt x="715" y="340"/>
                  </a:cubicBezTo>
                  <a:cubicBezTo>
                    <a:pt x="715" y="335"/>
                    <a:pt x="719" y="332"/>
                    <a:pt x="723" y="332"/>
                  </a:cubicBezTo>
                  <a:cubicBezTo>
                    <a:pt x="728" y="332"/>
                    <a:pt x="731" y="335"/>
                    <a:pt x="731" y="340"/>
                  </a:cubicBezTo>
                  <a:close/>
                  <a:moveTo>
                    <a:pt x="282" y="186"/>
                  </a:moveTo>
                  <a:cubicBezTo>
                    <a:pt x="282" y="191"/>
                    <a:pt x="278" y="194"/>
                    <a:pt x="274" y="194"/>
                  </a:cubicBezTo>
                  <a:cubicBezTo>
                    <a:pt x="269" y="194"/>
                    <a:pt x="266" y="191"/>
                    <a:pt x="266" y="186"/>
                  </a:cubicBezTo>
                  <a:cubicBezTo>
                    <a:pt x="266" y="182"/>
                    <a:pt x="269" y="178"/>
                    <a:pt x="274" y="178"/>
                  </a:cubicBezTo>
                  <a:cubicBezTo>
                    <a:pt x="278" y="178"/>
                    <a:pt x="282" y="182"/>
                    <a:pt x="282" y="186"/>
                  </a:cubicBezTo>
                  <a:close/>
                  <a:moveTo>
                    <a:pt x="563" y="552"/>
                  </a:moveTo>
                  <a:cubicBezTo>
                    <a:pt x="649" y="1090"/>
                    <a:pt x="650" y="1091"/>
                    <a:pt x="650" y="1091"/>
                  </a:cubicBezTo>
                  <a:lnTo>
                    <a:pt x="650" y="1091"/>
                  </a:lnTo>
                  <a:moveTo>
                    <a:pt x="564" y="560"/>
                  </a:moveTo>
                  <a:cubicBezTo>
                    <a:pt x="1101" y="470"/>
                    <a:pt x="1102" y="469"/>
                    <a:pt x="1102" y="469"/>
                  </a:cubicBezTo>
                  <a:lnTo>
                    <a:pt x="1102" y="469"/>
                  </a:lnTo>
                  <a:moveTo>
                    <a:pt x="560" y="554"/>
                  </a:moveTo>
                  <a:cubicBezTo>
                    <a:pt x="636" y="15"/>
                    <a:pt x="635" y="14"/>
                    <a:pt x="635" y="14"/>
                  </a:cubicBezTo>
                  <a:lnTo>
                    <a:pt x="635" y="14"/>
                  </a:lnTo>
                  <a:moveTo>
                    <a:pt x="258" y="1014"/>
                  </a:moveTo>
                  <a:cubicBezTo>
                    <a:pt x="554" y="557"/>
                    <a:pt x="555" y="556"/>
                    <a:pt x="555" y="556"/>
                  </a:cubicBezTo>
                  <a:lnTo>
                    <a:pt x="555" y="556"/>
                  </a:lnTo>
                  <a:moveTo>
                    <a:pt x="557" y="557"/>
                  </a:moveTo>
                  <a:cubicBezTo>
                    <a:pt x="41" y="384"/>
                    <a:pt x="39" y="384"/>
                    <a:pt x="39" y="384"/>
                  </a:cubicBezTo>
                  <a:lnTo>
                    <a:pt x="39" y="384"/>
                  </a:lnTo>
                  <a:moveTo>
                    <a:pt x="741" y="557"/>
                  </a:moveTo>
                  <a:cubicBezTo>
                    <a:pt x="742" y="658"/>
                    <a:pt x="660" y="741"/>
                    <a:pt x="559" y="741"/>
                  </a:cubicBezTo>
                  <a:cubicBezTo>
                    <a:pt x="458" y="742"/>
                    <a:pt x="375" y="660"/>
                    <a:pt x="375" y="559"/>
                  </a:cubicBezTo>
                  <a:cubicBezTo>
                    <a:pt x="374" y="458"/>
                    <a:pt x="456" y="375"/>
                    <a:pt x="557" y="375"/>
                  </a:cubicBezTo>
                  <a:cubicBezTo>
                    <a:pt x="658" y="374"/>
                    <a:pt x="741" y="456"/>
                    <a:pt x="741" y="557"/>
                  </a:cubicBezTo>
                  <a:close/>
                  <a:moveTo>
                    <a:pt x="927" y="556"/>
                  </a:moveTo>
                  <a:cubicBezTo>
                    <a:pt x="928" y="760"/>
                    <a:pt x="764" y="926"/>
                    <a:pt x="560" y="927"/>
                  </a:cubicBezTo>
                  <a:cubicBezTo>
                    <a:pt x="356" y="928"/>
                    <a:pt x="190" y="764"/>
                    <a:pt x="189" y="560"/>
                  </a:cubicBezTo>
                  <a:cubicBezTo>
                    <a:pt x="188" y="356"/>
                    <a:pt x="352" y="190"/>
                    <a:pt x="556" y="189"/>
                  </a:cubicBezTo>
                  <a:cubicBezTo>
                    <a:pt x="760" y="188"/>
                    <a:pt x="926" y="352"/>
                    <a:pt x="927" y="556"/>
                  </a:cubicBezTo>
                  <a:close/>
                  <a:moveTo>
                    <a:pt x="1115" y="555"/>
                  </a:moveTo>
                  <a:cubicBezTo>
                    <a:pt x="1116" y="863"/>
                    <a:pt x="868" y="1113"/>
                    <a:pt x="561" y="1115"/>
                  </a:cubicBezTo>
                  <a:cubicBezTo>
                    <a:pt x="253" y="1116"/>
                    <a:pt x="3" y="868"/>
                    <a:pt x="1" y="561"/>
                  </a:cubicBezTo>
                  <a:cubicBezTo>
                    <a:pt x="0" y="253"/>
                    <a:pt x="248" y="3"/>
                    <a:pt x="555" y="1"/>
                  </a:cubicBezTo>
                  <a:cubicBezTo>
                    <a:pt x="863" y="0"/>
                    <a:pt x="1113" y="248"/>
                    <a:pt x="1115" y="555"/>
                  </a:cubicBezTo>
                  <a:close/>
                </a:path>
              </a:pathLst>
            </a:custGeom>
            <a:grpFill/>
            <a:ln w="31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3" name="Google Shape;582;p44">
            <a:extLst>
              <a:ext uri="{FF2B5EF4-FFF2-40B4-BE49-F238E27FC236}">
                <a16:creationId xmlns:a16="http://schemas.microsoft.com/office/drawing/2014/main" id="{92EDBF45-6F83-470E-A509-C5F4331AE977}"/>
              </a:ext>
            </a:extLst>
          </p:cNvPr>
          <p:cNvSpPr/>
          <p:nvPr/>
        </p:nvSpPr>
        <p:spPr>
          <a:xfrm>
            <a:off x="3664527" y="2515799"/>
            <a:ext cx="518493" cy="507564"/>
          </a:xfrm>
          <a:custGeom>
            <a:avLst/>
            <a:gdLst/>
            <a:ahLst/>
            <a:cxnLst/>
            <a:rect l="l" t="t" r="r" b="b"/>
            <a:pathLst>
              <a:path w="16027" h="16027" fill="none" extrusionOk="0">
                <a:moveTo>
                  <a:pt x="14029" y="4019"/>
                </a:moveTo>
                <a:lnTo>
                  <a:pt x="14029" y="4019"/>
                </a:lnTo>
                <a:lnTo>
                  <a:pt x="14200" y="3849"/>
                </a:lnTo>
                <a:lnTo>
                  <a:pt x="14395" y="3752"/>
                </a:lnTo>
                <a:lnTo>
                  <a:pt x="14614" y="3678"/>
                </a:lnTo>
                <a:lnTo>
                  <a:pt x="14809" y="3630"/>
                </a:lnTo>
                <a:lnTo>
                  <a:pt x="15028" y="3581"/>
                </a:lnTo>
                <a:lnTo>
                  <a:pt x="15247" y="3484"/>
                </a:lnTo>
                <a:lnTo>
                  <a:pt x="15442" y="3362"/>
                </a:lnTo>
                <a:lnTo>
                  <a:pt x="15661" y="3191"/>
                </a:lnTo>
                <a:lnTo>
                  <a:pt x="15661" y="3191"/>
                </a:lnTo>
                <a:lnTo>
                  <a:pt x="15832" y="2997"/>
                </a:lnTo>
                <a:lnTo>
                  <a:pt x="15929" y="2777"/>
                </a:lnTo>
                <a:lnTo>
                  <a:pt x="16002" y="2534"/>
                </a:lnTo>
                <a:lnTo>
                  <a:pt x="16026" y="2266"/>
                </a:lnTo>
                <a:lnTo>
                  <a:pt x="16026" y="2266"/>
                </a:lnTo>
                <a:lnTo>
                  <a:pt x="16002" y="2047"/>
                </a:lnTo>
                <a:lnTo>
                  <a:pt x="15978" y="1827"/>
                </a:lnTo>
                <a:lnTo>
                  <a:pt x="15905" y="1633"/>
                </a:lnTo>
                <a:lnTo>
                  <a:pt x="15807" y="1413"/>
                </a:lnTo>
                <a:lnTo>
                  <a:pt x="15710" y="1243"/>
                </a:lnTo>
                <a:lnTo>
                  <a:pt x="15588" y="1048"/>
                </a:lnTo>
                <a:lnTo>
                  <a:pt x="15466" y="878"/>
                </a:lnTo>
                <a:lnTo>
                  <a:pt x="15320" y="707"/>
                </a:lnTo>
                <a:lnTo>
                  <a:pt x="15320" y="707"/>
                </a:lnTo>
                <a:lnTo>
                  <a:pt x="15150" y="561"/>
                </a:lnTo>
                <a:lnTo>
                  <a:pt x="14979" y="439"/>
                </a:lnTo>
                <a:lnTo>
                  <a:pt x="14784" y="317"/>
                </a:lnTo>
                <a:lnTo>
                  <a:pt x="14590" y="196"/>
                </a:lnTo>
                <a:lnTo>
                  <a:pt x="14395" y="123"/>
                </a:lnTo>
                <a:lnTo>
                  <a:pt x="14175" y="50"/>
                </a:lnTo>
                <a:lnTo>
                  <a:pt x="13981" y="25"/>
                </a:lnTo>
                <a:lnTo>
                  <a:pt x="13761" y="1"/>
                </a:lnTo>
                <a:lnTo>
                  <a:pt x="13761" y="1"/>
                </a:lnTo>
                <a:lnTo>
                  <a:pt x="13494" y="25"/>
                </a:lnTo>
                <a:lnTo>
                  <a:pt x="13250" y="98"/>
                </a:lnTo>
                <a:lnTo>
                  <a:pt x="13031" y="196"/>
                </a:lnTo>
                <a:lnTo>
                  <a:pt x="12836" y="366"/>
                </a:lnTo>
                <a:lnTo>
                  <a:pt x="12836" y="366"/>
                </a:lnTo>
                <a:lnTo>
                  <a:pt x="12665" y="561"/>
                </a:lnTo>
                <a:lnTo>
                  <a:pt x="12544" y="780"/>
                </a:lnTo>
                <a:lnTo>
                  <a:pt x="12471" y="975"/>
                </a:lnTo>
                <a:lnTo>
                  <a:pt x="12422" y="1194"/>
                </a:lnTo>
                <a:lnTo>
                  <a:pt x="12349" y="1413"/>
                </a:lnTo>
                <a:lnTo>
                  <a:pt x="12276" y="1608"/>
                </a:lnTo>
                <a:lnTo>
                  <a:pt x="12178" y="1827"/>
                </a:lnTo>
                <a:lnTo>
                  <a:pt x="12008" y="1998"/>
                </a:lnTo>
                <a:lnTo>
                  <a:pt x="12008" y="1998"/>
                </a:lnTo>
                <a:lnTo>
                  <a:pt x="11740" y="2266"/>
                </a:lnTo>
                <a:lnTo>
                  <a:pt x="11496" y="2436"/>
                </a:lnTo>
                <a:lnTo>
                  <a:pt x="11277" y="2534"/>
                </a:lnTo>
                <a:lnTo>
                  <a:pt x="11082" y="2582"/>
                </a:lnTo>
                <a:lnTo>
                  <a:pt x="10888" y="2582"/>
                </a:lnTo>
                <a:lnTo>
                  <a:pt x="10717" y="2534"/>
                </a:lnTo>
                <a:lnTo>
                  <a:pt x="10547" y="2412"/>
                </a:lnTo>
                <a:lnTo>
                  <a:pt x="10376" y="2290"/>
                </a:lnTo>
                <a:lnTo>
                  <a:pt x="10206" y="2095"/>
                </a:lnTo>
                <a:lnTo>
                  <a:pt x="10035" y="1901"/>
                </a:lnTo>
                <a:lnTo>
                  <a:pt x="9670" y="1413"/>
                </a:lnTo>
                <a:lnTo>
                  <a:pt x="9231" y="878"/>
                </a:lnTo>
                <a:lnTo>
                  <a:pt x="8988" y="585"/>
                </a:lnTo>
                <a:lnTo>
                  <a:pt x="8720" y="293"/>
                </a:lnTo>
                <a:lnTo>
                  <a:pt x="8720" y="293"/>
                </a:lnTo>
                <a:lnTo>
                  <a:pt x="8574" y="171"/>
                </a:lnTo>
                <a:lnTo>
                  <a:pt x="8379" y="74"/>
                </a:lnTo>
                <a:lnTo>
                  <a:pt x="8209" y="25"/>
                </a:lnTo>
                <a:lnTo>
                  <a:pt x="8014" y="1"/>
                </a:lnTo>
                <a:lnTo>
                  <a:pt x="8014" y="1"/>
                </a:lnTo>
                <a:lnTo>
                  <a:pt x="7916" y="25"/>
                </a:lnTo>
                <a:lnTo>
                  <a:pt x="7770" y="98"/>
                </a:lnTo>
                <a:lnTo>
                  <a:pt x="7307" y="366"/>
                </a:lnTo>
                <a:lnTo>
                  <a:pt x="7039" y="537"/>
                </a:lnTo>
                <a:lnTo>
                  <a:pt x="6747" y="756"/>
                </a:lnTo>
                <a:lnTo>
                  <a:pt x="6431" y="975"/>
                </a:lnTo>
                <a:lnTo>
                  <a:pt x="6138" y="1243"/>
                </a:lnTo>
                <a:lnTo>
                  <a:pt x="5870" y="1511"/>
                </a:lnTo>
                <a:lnTo>
                  <a:pt x="5627" y="1803"/>
                </a:lnTo>
                <a:lnTo>
                  <a:pt x="5432" y="2095"/>
                </a:lnTo>
                <a:lnTo>
                  <a:pt x="5359" y="2242"/>
                </a:lnTo>
                <a:lnTo>
                  <a:pt x="5310" y="2412"/>
                </a:lnTo>
                <a:lnTo>
                  <a:pt x="5262" y="2558"/>
                </a:lnTo>
                <a:lnTo>
                  <a:pt x="5237" y="2704"/>
                </a:lnTo>
                <a:lnTo>
                  <a:pt x="5237" y="2850"/>
                </a:lnTo>
                <a:lnTo>
                  <a:pt x="5262" y="3021"/>
                </a:lnTo>
                <a:lnTo>
                  <a:pt x="5310" y="3167"/>
                </a:lnTo>
                <a:lnTo>
                  <a:pt x="5383" y="3313"/>
                </a:lnTo>
                <a:lnTo>
                  <a:pt x="5481" y="3459"/>
                </a:lnTo>
                <a:lnTo>
                  <a:pt x="5603" y="3605"/>
                </a:lnTo>
                <a:lnTo>
                  <a:pt x="5603" y="3605"/>
                </a:lnTo>
                <a:lnTo>
                  <a:pt x="5797" y="3752"/>
                </a:lnTo>
                <a:lnTo>
                  <a:pt x="5992" y="3849"/>
                </a:lnTo>
                <a:lnTo>
                  <a:pt x="6187" y="3946"/>
                </a:lnTo>
                <a:lnTo>
                  <a:pt x="6406" y="3995"/>
                </a:lnTo>
                <a:lnTo>
                  <a:pt x="6625" y="4044"/>
                </a:lnTo>
                <a:lnTo>
                  <a:pt x="6845" y="4141"/>
                </a:lnTo>
                <a:lnTo>
                  <a:pt x="7039" y="4239"/>
                </a:lnTo>
                <a:lnTo>
                  <a:pt x="7234" y="4409"/>
                </a:lnTo>
                <a:lnTo>
                  <a:pt x="7234" y="4409"/>
                </a:lnTo>
                <a:lnTo>
                  <a:pt x="7405" y="4604"/>
                </a:lnTo>
                <a:lnTo>
                  <a:pt x="7502" y="4823"/>
                </a:lnTo>
                <a:lnTo>
                  <a:pt x="7575" y="5067"/>
                </a:lnTo>
                <a:lnTo>
                  <a:pt x="7600" y="5359"/>
                </a:lnTo>
                <a:lnTo>
                  <a:pt x="7600" y="5359"/>
                </a:lnTo>
                <a:lnTo>
                  <a:pt x="7575" y="5554"/>
                </a:lnTo>
                <a:lnTo>
                  <a:pt x="7551" y="5773"/>
                </a:lnTo>
                <a:lnTo>
                  <a:pt x="7478" y="5968"/>
                </a:lnTo>
                <a:lnTo>
                  <a:pt x="7405" y="6163"/>
                </a:lnTo>
                <a:lnTo>
                  <a:pt x="7307" y="6357"/>
                </a:lnTo>
                <a:lnTo>
                  <a:pt x="7186" y="6552"/>
                </a:lnTo>
                <a:lnTo>
                  <a:pt x="7039" y="6723"/>
                </a:lnTo>
                <a:lnTo>
                  <a:pt x="6893" y="6893"/>
                </a:lnTo>
                <a:lnTo>
                  <a:pt x="6893" y="6893"/>
                </a:lnTo>
                <a:lnTo>
                  <a:pt x="6723" y="7039"/>
                </a:lnTo>
                <a:lnTo>
                  <a:pt x="6552" y="7186"/>
                </a:lnTo>
                <a:lnTo>
                  <a:pt x="6382" y="7283"/>
                </a:lnTo>
                <a:lnTo>
                  <a:pt x="6187" y="7405"/>
                </a:lnTo>
                <a:lnTo>
                  <a:pt x="5992" y="7478"/>
                </a:lnTo>
                <a:lnTo>
                  <a:pt x="5773" y="7551"/>
                </a:lnTo>
                <a:lnTo>
                  <a:pt x="5554" y="7575"/>
                </a:lnTo>
                <a:lnTo>
                  <a:pt x="5359" y="7600"/>
                </a:lnTo>
                <a:lnTo>
                  <a:pt x="5359" y="7600"/>
                </a:lnTo>
                <a:lnTo>
                  <a:pt x="5091" y="7575"/>
                </a:lnTo>
                <a:lnTo>
                  <a:pt x="4848" y="7502"/>
                </a:lnTo>
                <a:lnTo>
                  <a:pt x="4604" y="7405"/>
                </a:lnTo>
                <a:lnTo>
                  <a:pt x="4409" y="7234"/>
                </a:lnTo>
                <a:lnTo>
                  <a:pt x="4409" y="7234"/>
                </a:lnTo>
                <a:lnTo>
                  <a:pt x="4239" y="7039"/>
                </a:lnTo>
                <a:lnTo>
                  <a:pt x="4117" y="6820"/>
                </a:lnTo>
                <a:lnTo>
                  <a:pt x="4044" y="6601"/>
                </a:lnTo>
                <a:lnTo>
                  <a:pt x="3971" y="6382"/>
                </a:lnTo>
                <a:lnTo>
                  <a:pt x="3922" y="6187"/>
                </a:lnTo>
                <a:lnTo>
                  <a:pt x="3849" y="5992"/>
                </a:lnTo>
                <a:lnTo>
                  <a:pt x="3752" y="5797"/>
                </a:lnTo>
                <a:lnTo>
                  <a:pt x="3605" y="5602"/>
                </a:lnTo>
                <a:lnTo>
                  <a:pt x="3605" y="5602"/>
                </a:lnTo>
                <a:lnTo>
                  <a:pt x="3459" y="5481"/>
                </a:lnTo>
                <a:lnTo>
                  <a:pt x="3313" y="5383"/>
                </a:lnTo>
                <a:lnTo>
                  <a:pt x="3167" y="5310"/>
                </a:lnTo>
                <a:lnTo>
                  <a:pt x="3021" y="5262"/>
                </a:lnTo>
                <a:lnTo>
                  <a:pt x="2850" y="5237"/>
                </a:lnTo>
                <a:lnTo>
                  <a:pt x="2704" y="5237"/>
                </a:lnTo>
                <a:lnTo>
                  <a:pt x="2558" y="5262"/>
                </a:lnTo>
                <a:lnTo>
                  <a:pt x="2412" y="5310"/>
                </a:lnTo>
                <a:lnTo>
                  <a:pt x="2242" y="5359"/>
                </a:lnTo>
                <a:lnTo>
                  <a:pt x="2095" y="5432"/>
                </a:lnTo>
                <a:lnTo>
                  <a:pt x="1803" y="5627"/>
                </a:lnTo>
                <a:lnTo>
                  <a:pt x="1511" y="5870"/>
                </a:lnTo>
                <a:lnTo>
                  <a:pt x="1243" y="6138"/>
                </a:lnTo>
                <a:lnTo>
                  <a:pt x="975" y="6431"/>
                </a:lnTo>
                <a:lnTo>
                  <a:pt x="756" y="6747"/>
                </a:lnTo>
                <a:lnTo>
                  <a:pt x="537" y="7039"/>
                </a:lnTo>
                <a:lnTo>
                  <a:pt x="366" y="7307"/>
                </a:lnTo>
                <a:lnTo>
                  <a:pt x="98" y="7770"/>
                </a:lnTo>
                <a:lnTo>
                  <a:pt x="25" y="7916"/>
                </a:lnTo>
                <a:lnTo>
                  <a:pt x="1" y="8014"/>
                </a:lnTo>
                <a:lnTo>
                  <a:pt x="1" y="8014"/>
                </a:lnTo>
                <a:lnTo>
                  <a:pt x="25" y="8208"/>
                </a:lnTo>
                <a:lnTo>
                  <a:pt x="74" y="8379"/>
                </a:lnTo>
                <a:lnTo>
                  <a:pt x="171" y="8574"/>
                </a:lnTo>
                <a:lnTo>
                  <a:pt x="293" y="8720"/>
                </a:lnTo>
                <a:lnTo>
                  <a:pt x="293" y="8720"/>
                </a:lnTo>
                <a:lnTo>
                  <a:pt x="585" y="8988"/>
                </a:lnTo>
                <a:lnTo>
                  <a:pt x="878" y="9231"/>
                </a:lnTo>
                <a:lnTo>
                  <a:pt x="1413" y="9670"/>
                </a:lnTo>
                <a:lnTo>
                  <a:pt x="1901" y="10035"/>
                </a:lnTo>
                <a:lnTo>
                  <a:pt x="2095" y="10206"/>
                </a:lnTo>
                <a:lnTo>
                  <a:pt x="2290" y="10376"/>
                </a:lnTo>
                <a:lnTo>
                  <a:pt x="2412" y="10547"/>
                </a:lnTo>
                <a:lnTo>
                  <a:pt x="2534" y="10717"/>
                </a:lnTo>
                <a:lnTo>
                  <a:pt x="2583" y="10888"/>
                </a:lnTo>
                <a:lnTo>
                  <a:pt x="2583" y="11082"/>
                </a:lnTo>
                <a:lnTo>
                  <a:pt x="2534" y="11277"/>
                </a:lnTo>
                <a:lnTo>
                  <a:pt x="2436" y="11496"/>
                </a:lnTo>
                <a:lnTo>
                  <a:pt x="2266" y="11740"/>
                </a:lnTo>
                <a:lnTo>
                  <a:pt x="1998" y="12008"/>
                </a:lnTo>
                <a:lnTo>
                  <a:pt x="1998" y="12008"/>
                </a:lnTo>
                <a:lnTo>
                  <a:pt x="1828" y="12178"/>
                </a:lnTo>
                <a:lnTo>
                  <a:pt x="1633" y="12276"/>
                </a:lnTo>
                <a:lnTo>
                  <a:pt x="1413" y="12349"/>
                </a:lnTo>
                <a:lnTo>
                  <a:pt x="1219" y="12398"/>
                </a:lnTo>
                <a:lnTo>
                  <a:pt x="999" y="12446"/>
                </a:lnTo>
                <a:lnTo>
                  <a:pt x="780" y="12544"/>
                </a:lnTo>
                <a:lnTo>
                  <a:pt x="585" y="12665"/>
                </a:lnTo>
                <a:lnTo>
                  <a:pt x="366" y="12836"/>
                </a:lnTo>
                <a:lnTo>
                  <a:pt x="366" y="12836"/>
                </a:lnTo>
                <a:lnTo>
                  <a:pt x="196" y="13031"/>
                </a:lnTo>
                <a:lnTo>
                  <a:pt x="98" y="13250"/>
                </a:lnTo>
                <a:lnTo>
                  <a:pt x="25" y="13493"/>
                </a:lnTo>
                <a:lnTo>
                  <a:pt x="1" y="13761"/>
                </a:lnTo>
                <a:lnTo>
                  <a:pt x="1" y="13761"/>
                </a:lnTo>
                <a:lnTo>
                  <a:pt x="25" y="13981"/>
                </a:lnTo>
                <a:lnTo>
                  <a:pt x="50" y="14200"/>
                </a:lnTo>
                <a:lnTo>
                  <a:pt x="123" y="14395"/>
                </a:lnTo>
                <a:lnTo>
                  <a:pt x="220" y="14614"/>
                </a:lnTo>
                <a:lnTo>
                  <a:pt x="318" y="14784"/>
                </a:lnTo>
                <a:lnTo>
                  <a:pt x="439" y="14979"/>
                </a:lnTo>
                <a:lnTo>
                  <a:pt x="561" y="15150"/>
                </a:lnTo>
                <a:lnTo>
                  <a:pt x="707" y="15320"/>
                </a:lnTo>
                <a:lnTo>
                  <a:pt x="707" y="15320"/>
                </a:lnTo>
                <a:lnTo>
                  <a:pt x="878" y="15466"/>
                </a:lnTo>
                <a:lnTo>
                  <a:pt x="1048" y="15588"/>
                </a:lnTo>
                <a:lnTo>
                  <a:pt x="1243" y="15710"/>
                </a:lnTo>
                <a:lnTo>
                  <a:pt x="1438" y="15832"/>
                </a:lnTo>
                <a:lnTo>
                  <a:pt x="1633" y="15905"/>
                </a:lnTo>
                <a:lnTo>
                  <a:pt x="1852" y="15978"/>
                </a:lnTo>
                <a:lnTo>
                  <a:pt x="2047" y="16002"/>
                </a:lnTo>
                <a:lnTo>
                  <a:pt x="2266" y="16026"/>
                </a:lnTo>
                <a:lnTo>
                  <a:pt x="2266" y="16026"/>
                </a:lnTo>
                <a:lnTo>
                  <a:pt x="2534" y="16002"/>
                </a:lnTo>
                <a:lnTo>
                  <a:pt x="2777" y="15929"/>
                </a:lnTo>
                <a:lnTo>
                  <a:pt x="2997" y="15832"/>
                </a:lnTo>
                <a:lnTo>
                  <a:pt x="3191" y="15661"/>
                </a:lnTo>
                <a:lnTo>
                  <a:pt x="3191" y="15661"/>
                </a:lnTo>
                <a:lnTo>
                  <a:pt x="3362" y="15466"/>
                </a:lnTo>
                <a:lnTo>
                  <a:pt x="3484" y="15247"/>
                </a:lnTo>
                <a:lnTo>
                  <a:pt x="3557" y="15052"/>
                </a:lnTo>
                <a:lnTo>
                  <a:pt x="3605" y="14833"/>
                </a:lnTo>
                <a:lnTo>
                  <a:pt x="3679" y="14614"/>
                </a:lnTo>
                <a:lnTo>
                  <a:pt x="3752" y="14419"/>
                </a:lnTo>
                <a:lnTo>
                  <a:pt x="3849" y="14200"/>
                </a:lnTo>
                <a:lnTo>
                  <a:pt x="4019" y="14029"/>
                </a:lnTo>
                <a:lnTo>
                  <a:pt x="4019" y="14029"/>
                </a:lnTo>
                <a:lnTo>
                  <a:pt x="4287" y="13786"/>
                </a:lnTo>
                <a:lnTo>
                  <a:pt x="4531" y="13591"/>
                </a:lnTo>
                <a:lnTo>
                  <a:pt x="4750" y="13493"/>
                </a:lnTo>
                <a:lnTo>
                  <a:pt x="4945" y="13445"/>
                </a:lnTo>
                <a:lnTo>
                  <a:pt x="5140" y="13445"/>
                </a:lnTo>
                <a:lnTo>
                  <a:pt x="5310" y="13493"/>
                </a:lnTo>
                <a:lnTo>
                  <a:pt x="5481" y="13615"/>
                </a:lnTo>
                <a:lnTo>
                  <a:pt x="5651" y="13737"/>
                </a:lnTo>
                <a:lnTo>
                  <a:pt x="5822" y="13932"/>
                </a:lnTo>
                <a:lnTo>
                  <a:pt x="5992" y="14127"/>
                </a:lnTo>
                <a:lnTo>
                  <a:pt x="6358" y="14614"/>
                </a:lnTo>
                <a:lnTo>
                  <a:pt x="6796" y="15150"/>
                </a:lnTo>
                <a:lnTo>
                  <a:pt x="7039" y="15442"/>
                </a:lnTo>
                <a:lnTo>
                  <a:pt x="7307" y="15734"/>
                </a:lnTo>
                <a:lnTo>
                  <a:pt x="7307" y="15734"/>
                </a:lnTo>
                <a:lnTo>
                  <a:pt x="7454" y="15856"/>
                </a:lnTo>
                <a:lnTo>
                  <a:pt x="7648" y="15953"/>
                </a:lnTo>
                <a:lnTo>
                  <a:pt x="7819" y="16002"/>
                </a:lnTo>
                <a:lnTo>
                  <a:pt x="8014" y="16026"/>
                </a:lnTo>
                <a:lnTo>
                  <a:pt x="8014" y="16026"/>
                </a:lnTo>
                <a:lnTo>
                  <a:pt x="8111" y="16002"/>
                </a:lnTo>
                <a:lnTo>
                  <a:pt x="8257" y="15929"/>
                </a:lnTo>
                <a:lnTo>
                  <a:pt x="8720" y="15661"/>
                </a:lnTo>
                <a:lnTo>
                  <a:pt x="8988" y="15491"/>
                </a:lnTo>
                <a:lnTo>
                  <a:pt x="9280" y="15271"/>
                </a:lnTo>
                <a:lnTo>
                  <a:pt x="9597" y="15052"/>
                </a:lnTo>
                <a:lnTo>
                  <a:pt x="9889" y="14784"/>
                </a:lnTo>
                <a:lnTo>
                  <a:pt x="10157" y="14516"/>
                </a:lnTo>
                <a:lnTo>
                  <a:pt x="10400" y="14224"/>
                </a:lnTo>
                <a:lnTo>
                  <a:pt x="10595" y="13932"/>
                </a:lnTo>
                <a:lnTo>
                  <a:pt x="10668" y="13786"/>
                </a:lnTo>
                <a:lnTo>
                  <a:pt x="10717" y="13615"/>
                </a:lnTo>
                <a:lnTo>
                  <a:pt x="10766" y="13469"/>
                </a:lnTo>
                <a:lnTo>
                  <a:pt x="10790" y="13323"/>
                </a:lnTo>
                <a:lnTo>
                  <a:pt x="10790" y="13177"/>
                </a:lnTo>
                <a:lnTo>
                  <a:pt x="10766" y="13006"/>
                </a:lnTo>
                <a:lnTo>
                  <a:pt x="10717" y="12860"/>
                </a:lnTo>
                <a:lnTo>
                  <a:pt x="10644" y="12714"/>
                </a:lnTo>
                <a:lnTo>
                  <a:pt x="10547" y="12568"/>
                </a:lnTo>
                <a:lnTo>
                  <a:pt x="10425" y="12422"/>
                </a:lnTo>
                <a:lnTo>
                  <a:pt x="10425" y="12422"/>
                </a:lnTo>
                <a:lnTo>
                  <a:pt x="10230" y="12276"/>
                </a:lnTo>
                <a:lnTo>
                  <a:pt x="10035" y="12178"/>
                </a:lnTo>
                <a:lnTo>
                  <a:pt x="9840" y="12105"/>
                </a:lnTo>
                <a:lnTo>
                  <a:pt x="9621" y="12032"/>
                </a:lnTo>
                <a:lnTo>
                  <a:pt x="9402" y="11983"/>
                </a:lnTo>
                <a:lnTo>
                  <a:pt x="9183" y="11886"/>
                </a:lnTo>
                <a:lnTo>
                  <a:pt x="8988" y="11789"/>
                </a:lnTo>
                <a:lnTo>
                  <a:pt x="8793" y="11618"/>
                </a:lnTo>
                <a:lnTo>
                  <a:pt x="8793" y="11618"/>
                </a:lnTo>
                <a:lnTo>
                  <a:pt x="8623" y="11423"/>
                </a:lnTo>
                <a:lnTo>
                  <a:pt x="8525" y="11204"/>
                </a:lnTo>
                <a:lnTo>
                  <a:pt x="8452" y="10961"/>
                </a:lnTo>
                <a:lnTo>
                  <a:pt x="8428" y="10668"/>
                </a:lnTo>
                <a:lnTo>
                  <a:pt x="8428" y="10668"/>
                </a:lnTo>
                <a:lnTo>
                  <a:pt x="8452" y="10473"/>
                </a:lnTo>
                <a:lnTo>
                  <a:pt x="8476" y="10254"/>
                </a:lnTo>
                <a:lnTo>
                  <a:pt x="8549" y="10059"/>
                </a:lnTo>
                <a:lnTo>
                  <a:pt x="8623" y="9865"/>
                </a:lnTo>
                <a:lnTo>
                  <a:pt x="8720" y="9670"/>
                </a:lnTo>
                <a:lnTo>
                  <a:pt x="8842" y="9475"/>
                </a:lnTo>
                <a:lnTo>
                  <a:pt x="8988" y="9304"/>
                </a:lnTo>
                <a:lnTo>
                  <a:pt x="9134" y="9134"/>
                </a:lnTo>
                <a:lnTo>
                  <a:pt x="9134" y="9134"/>
                </a:lnTo>
                <a:lnTo>
                  <a:pt x="9304" y="8988"/>
                </a:lnTo>
                <a:lnTo>
                  <a:pt x="9475" y="8866"/>
                </a:lnTo>
                <a:lnTo>
                  <a:pt x="9645" y="8744"/>
                </a:lnTo>
                <a:lnTo>
                  <a:pt x="9840" y="8622"/>
                </a:lnTo>
                <a:lnTo>
                  <a:pt x="10035" y="8549"/>
                </a:lnTo>
                <a:lnTo>
                  <a:pt x="10254" y="8476"/>
                </a:lnTo>
                <a:lnTo>
                  <a:pt x="10474" y="8452"/>
                </a:lnTo>
                <a:lnTo>
                  <a:pt x="10668" y="8428"/>
                </a:lnTo>
                <a:lnTo>
                  <a:pt x="10668" y="8428"/>
                </a:lnTo>
                <a:lnTo>
                  <a:pt x="10936" y="8452"/>
                </a:lnTo>
                <a:lnTo>
                  <a:pt x="11180" y="8525"/>
                </a:lnTo>
                <a:lnTo>
                  <a:pt x="11423" y="8622"/>
                </a:lnTo>
                <a:lnTo>
                  <a:pt x="11618" y="8793"/>
                </a:lnTo>
                <a:lnTo>
                  <a:pt x="11618" y="8793"/>
                </a:lnTo>
                <a:lnTo>
                  <a:pt x="11789" y="8988"/>
                </a:lnTo>
                <a:lnTo>
                  <a:pt x="11910" y="9207"/>
                </a:lnTo>
                <a:lnTo>
                  <a:pt x="11984" y="9426"/>
                </a:lnTo>
                <a:lnTo>
                  <a:pt x="12057" y="9645"/>
                </a:lnTo>
                <a:lnTo>
                  <a:pt x="12105" y="9840"/>
                </a:lnTo>
                <a:lnTo>
                  <a:pt x="12178" y="10035"/>
                </a:lnTo>
                <a:lnTo>
                  <a:pt x="12276" y="10230"/>
                </a:lnTo>
                <a:lnTo>
                  <a:pt x="12422" y="10425"/>
                </a:lnTo>
                <a:lnTo>
                  <a:pt x="12422" y="10425"/>
                </a:lnTo>
                <a:lnTo>
                  <a:pt x="12568" y="10547"/>
                </a:lnTo>
                <a:lnTo>
                  <a:pt x="12714" y="10644"/>
                </a:lnTo>
                <a:lnTo>
                  <a:pt x="12860" y="10717"/>
                </a:lnTo>
                <a:lnTo>
                  <a:pt x="13006" y="10766"/>
                </a:lnTo>
                <a:lnTo>
                  <a:pt x="13177" y="10790"/>
                </a:lnTo>
                <a:lnTo>
                  <a:pt x="13323" y="10790"/>
                </a:lnTo>
                <a:lnTo>
                  <a:pt x="13469" y="10766"/>
                </a:lnTo>
                <a:lnTo>
                  <a:pt x="13615" y="10717"/>
                </a:lnTo>
                <a:lnTo>
                  <a:pt x="13786" y="10668"/>
                </a:lnTo>
                <a:lnTo>
                  <a:pt x="13932" y="10595"/>
                </a:lnTo>
                <a:lnTo>
                  <a:pt x="14224" y="10400"/>
                </a:lnTo>
                <a:lnTo>
                  <a:pt x="14516" y="10157"/>
                </a:lnTo>
                <a:lnTo>
                  <a:pt x="14784" y="9889"/>
                </a:lnTo>
                <a:lnTo>
                  <a:pt x="15052" y="9597"/>
                </a:lnTo>
                <a:lnTo>
                  <a:pt x="15271" y="9280"/>
                </a:lnTo>
                <a:lnTo>
                  <a:pt x="15491" y="8988"/>
                </a:lnTo>
                <a:lnTo>
                  <a:pt x="15661" y="8720"/>
                </a:lnTo>
                <a:lnTo>
                  <a:pt x="15929" y="8257"/>
                </a:lnTo>
                <a:lnTo>
                  <a:pt x="16002" y="8111"/>
                </a:lnTo>
                <a:lnTo>
                  <a:pt x="16026" y="8014"/>
                </a:lnTo>
                <a:lnTo>
                  <a:pt x="16026" y="8014"/>
                </a:lnTo>
                <a:lnTo>
                  <a:pt x="16002" y="7819"/>
                </a:lnTo>
                <a:lnTo>
                  <a:pt x="15953" y="7648"/>
                </a:lnTo>
                <a:lnTo>
                  <a:pt x="15856" y="7453"/>
                </a:lnTo>
                <a:lnTo>
                  <a:pt x="15734" y="7307"/>
                </a:lnTo>
                <a:lnTo>
                  <a:pt x="15734" y="7307"/>
                </a:lnTo>
                <a:lnTo>
                  <a:pt x="15442" y="7039"/>
                </a:lnTo>
                <a:lnTo>
                  <a:pt x="15150" y="6796"/>
                </a:lnTo>
                <a:lnTo>
                  <a:pt x="14614" y="6357"/>
                </a:lnTo>
                <a:lnTo>
                  <a:pt x="14127" y="5992"/>
                </a:lnTo>
                <a:lnTo>
                  <a:pt x="13932" y="5822"/>
                </a:lnTo>
                <a:lnTo>
                  <a:pt x="13737" y="5651"/>
                </a:lnTo>
                <a:lnTo>
                  <a:pt x="13615" y="5481"/>
                </a:lnTo>
                <a:lnTo>
                  <a:pt x="13494" y="5310"/>
                </a:lnTo>
                <a:lnTo>
                  <a:pt x="13445" y="5140"/>
                </a:lnTo>
                <a:lnTo>
                  <a:pt x="13445" y="4945"/>
                </a:lnTo>
                <a:lnTo>
                  <a:pt x="13494" y="4750"/>
                </a:lnTo>
                <a:lnTo>
                  <a:pt x="13591" y="4531"/>
                </a:lnTo>
                <a:lnTo>
                  <a:pt x="13761" y="4287"/>
                </a:lnTo>
                <a:lnTo>
                  <a:pt x="14029" y="4019"/>
                </a:lnTo>
                <a:lnTo>
                  <a:pt x="14029" y="4019"/>
                </a:lnTo>
                <a:close/>
              </a:path>
            </a:pathLst>
          </a:custGeom>
          <a:solidFill>
            <a:schemeClr val="bg1"/>
          </a:solidFill>
          <a:ln w="12175" cap="rnd"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499;p52">
            <a:extLst>
              <a:ext uri="{FF2B5EF4-FFF2-40B4-BE49-F238E27FC236}">
                <a16:creationId xmlns:a16="http://schemas.microsoft.com/office/drawing/2014/main" id="{65A030BE-2C46-44A2-A982-B63AFC7487C4}"/>
              </a:ext>
            </a:extLst>
          </p:cNvPr>
          <p:cNvGrpSpPr/>
          <p:nvPr/>
        </p:nvGrpSpPr>
        <p:grpSpPr>
          <a:xfrm>
            <a:off x="4716611" y="2517784"/>
            <a:ext cx="473556" cy="561999"/>
            <a:chOff x="2554206" y="1011105"/>
            <a:chExt cx="613055" cy="720187"/>
          </a:xfrm>
          <a:solidFill>
            <a:schemeClr val="accent6">
              <a:lumMod val="60000"/>
              <a:lumOff val="40000"/>
            </a:schemeClr>
          </a:solidFill>
        </p:grpSpPr>
        <p:sp>
          <p:nvSpPr>
            <p:cNvPr id="46" name="Google Shape;1500;p52">
              <a:extLst>
                <a:ext uri="{FF2B5EF4-FFF2-40B4-BE49-F238E27FC236}">
                  <a16:creationId xmlns:a16="http://schemas.microsoft.com/office/drawing/2014/main" id="{223AE7F7-DEE2-4829-B0AB-E0CD85B7BB19}"/>
                </a:ext>
              </a:extLst>
            </p:cNvPr>
            <p:cNvSpPr/>
            <p:nvPr/>
          </p:nvSpPr>
          <p:spPr>
            <a:xfrm flipH="1">
              <a:off x="2721847" y="1011105"/>
              <a:ext cx="445414" cy="388012"/>
            </a:xfrm>
            <a:custGeom>
              <a:avLst/>
              <a:gdLst/>
              <a:ahLst/>
              <a:cxnLst/>
              <a:rect l="l" t="t" r="r" b="b"/>
              <a:pathLst>
                <a:path w="885" h="771" extrusionOk="0">
                  <a:moveTo>
                    <a:pt x="708" y="363"/>
                  </a:moveTo>
                  <a:cubicBezTo>
                    <a:pt x="699" y="358"/>
                    <a:pt x="687" y="357"/>
                    <a:pt x="677" y="361"/>
                  </a:cubicBezTo>
                  <a:cubicBezTo>
                    <a:pt x="662" y="366"/>
                    <a:pt x="649" y="378"/>
                    <a:pt x="640" y="395"/>
                  </a:cubicBezTo>
                  <a:cubicBezTo>
                    <a:pt x="630" y="411"/>
                    <a:pt x="626" y="429"/>
                    <a:pt x="629" y="444"/>
                  </a:cubicBezTo>
                  <a:cubicBezTo>
                    <a:pt x="631" y="455"/>
                    <a:pt x="637" y="464"/>
                    <a:pt x="646" y="470"/>
                  </a:cubicBezTo>
                  <a:cubicBezTo>
                    <a:pt x="655" y="475"/>
                    <a:pt x="667" y="476"/>
                    <a:pt x="677" y="471"/>
                  </a:cubicBezTo>
                  <a:cubicBezTo>
                    <a:pt x="551" y="690"/>
                    <a:pt x="551" y="690"/>
                    <a:pt x="551" y="690"/>
                  </a:cubicBezTo>
                  <a:cubicBezTo>
                    <a:pt x="548" y="696"/>
                    <a:pt x="542" y="699"/>
                    <a:pt x="536" y="699"/>
                  </a:cubicBezTo>
                  <a:cubicBezTo>
                    <a:pt x="365" y="699"/>
                    <a:pt x="365" y="699"/>
                    <a:pt x="365" y="699"/>
                  </a:cubicBezTo>
                  <a:cubicBezTo>
                    <a:pt x="362" y="700"/>
                    <a:pt x="359" y="703"/>
                    <a:pt x="359" y="706"/>
                  </a:cubicBezTo>
                  <a:cubicBezTo>
                    <a:pt x="358" y="713"/>
                    <a:pt x="358" y="720"/>
                    <a:pt x="365" y="724"/>
                  </a:cubicBezTo>
                  <a:cubicBezTo>
                    <a:pt x="368" y="726"/>
                    <a:pt x="372" y="728"/>
                    <a:pt x="376" y="730"/>
                  </a:cubicBezTo>
                  <a:cubicBezTo>
                    <a:pt x="387" y="737"/>
                    <a:pt x="388" y="751"/>
                    <a:pt x="378" y="759"/>
                  </a:cubicBezTo>
                  <a:cubicBezTo>
                    <a:pt x="368" y="767"/>
                    <a:pt x="354" y="771"/>
                    <a:pt x="341" y="770"/>
                  </a:cubicBezTo>
                  <a:cubicBezTo>
                    <a:pt x="328" y="771"/>
                    <a:pt x="314" y="768"/>
                    <a:pt x="304" y="759"/>
                  </a:cubicBezTo>
                  <a:cubicBezTo>
                    <a:pt x="294" y="751"/>
                    <a:pt x="295" y="737"/>
                    <a:pt x="306" y="730"/>
                  </a:cubicBezTo>
                  <a:cubicBezTo>
                    <a:pt x="310" y="728"/>
                    <a:pt x="314" y="726"/>
                    <a:pt x="317" y="724"/>
                  </a:cubicBezTo>
                  <a:cubicBezTo>
                    <a:pt x="323" y="720"/>
                    <a:pt x="323" y="713"/>
                    <a:pt x="323" y="706"/>
                  </a:cubicBezTo>
                  <a:cubicBezTo>
                    <a:pt x="323" y="703"/>
                    <a:pt x="320" y="700"/>
                    <a:pt x="317" y="699"/>
                  </a:cubicBezTo>
                  <a:cubicBezTo>
                    <a:pt x="115" y="699"/>
                    <a:pt x="115" y="699"/>
                    <a:pt x="115" y="699"/>
                  </a:cubicBezTo>
                  <a:cubicBezTo>
                    <a:pt x="112" y="699"/>
                    <a:pt x="109" y="697"/>
                    <a:pt x="108" y="694"/>
                  </a:cubicBezTo>
                  <a:cubicBezTo>
                    <a:pt x="108" y="694"/>
                    <a:pt x="108" y="694"/>
                    <a:pt x="108" y="694"/>
                  </a:cubicBezTo>
                  <a:cubicBezTo>
                    <a:pt x="58" y="592"/>
                    <a:pt x="0" y="246"/>
                    <a:pt x="247" y="121"/>
                  </a:cubicBezTo>
                  <a:cubicBezTo>
                    <a:pt x="487" y="0"/>
                    <a:pt x="726" y="23"/>
                    <a:pt x="852" y="89"/>
                  </a:cubicBezTo>
                  <a:cubicBezTo>
                    <a:pt x="862" y="94"/>
                    <a:pt x="871" y="99"/>
                    <a:pt x="879" y="104"/>
                  </a:cubicBezTo>
                  <a:cubicBezTo>
                    <a:pt x="883" y="107"/>
                    <a:pt x="885" y="112"/>
                    <a:pt x="882" y="116"/>
                  </a:cubicBezTo>
                  <a:cubicBezTo>
                    <a:pt x="725" y="389"/>
                    <a:pt x="725" y="389"/>
                    <a:pt x="725" y="389"/>
                  </a:cubicBezTo>
                  <a:cubicBezTo>
                    <a:pt x="723" y="378"/>
                    <a:pt x="717" y="368"/>
                    <a:pt x="708" y="363"/>
                  </a:cubicBezTo>
                  <a:close/>
                </a:path>
              </a:pathLst>
            </a:custGeom>
            <a:solidFill>
              <a:schemeClr val="accent1">
                <a:lumMod val="40000"/>
                <a:lumOff val="60000"/>
              </a:schemeClr>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sp>
          <p:nvSpPr>
            <p:cNvPr id="47" name="Google Shape;1501;p52">
              <a:extLst>
                <a:ext uri="{FF2B5EF4-FFF2-40B4-BE49-F238E27FC236}">
                  <a16:creationId xmlns:a16="http://schemas.microsoft.com/office/drawing/2014/main" id="{A3CFA0B9-0E26-4D93-892F-DCB3916E7E6A}"/>
                </a:ext>
              </a:extLst>
            </p:cNvPr>
            <p:cNvSpPr/>
            <p:nvPr/>
          </p:nvSpPr>
          <p:spPr>
            <a:xfrm flipH="1">
              <a:off x="2554206" y="1072424"/>
              <a:ext cx="329184" cy="568718"/>
            </a:xfrm>
            <a:custGeom>
              <a:avLst/>
              <a:gdLst/>
              <a:ahLst/>
              <a:cxnLst/>
              <a:rect l="l" t="t" r="r" b="b"/>
              <a:pathLst>
                <a:path w="654" h="1130" extrusionOk="0">
                  <a:moveTo>
                    <a:pt x="208" y="896"/>
                  </a:moveTo>
                  <a:cubicBezTo>
                    <a:pt x="217" y="891"/>
                    <a:pt x="224" y="882"/>
                    <a:pt x="225" y="871"/>
                  </a:cubicBezTo>
                  <a:cubicBezTo>
                    <a:pt x="228" y="856"/>
                    <a:pt x="224" y="838"/>
                    <a:pt x="214" y="822"/>
                  </a:cubicBezTo>
                  <a:cubicBezTo>
                    <a:pt x="205" y="805"/>
                    <a:pt x="192" y="793"/>
                    <a:pt x="177" y="787"/>
                  </a:cubicBezTo>
                  <a:cubicBezTo>
                    <a:pt x="167" y="784"/>
                    <a:pt x="156" y="784"/>
                    <a:pt x="147" y="790"/>
                  </a:cubicBezTo>
                  <a:cubicBezTo>
                    <a:pt x="137" y="795"/>
                    <a:pt x="131" y="805"/>
                    <a:pt x="130" y="816"/>
                  </a:cubicBezTo>
                  <a:cubicBezTo>
                    <a:pt x="3" y="597"/>
                    <a:pt x="3" y="597"/>
                    <a:pt x="3" y="597"/>
                  </a:cubicBezTo>
                  <a:cubicBezTo>
                    <a:pt x="0" y="591"/>
                    <a:pt x="0" y="585"/>
                    <a:pt x="3" y="579"/>
                  </a:cubicBezTo>
                  <a:cubicBezTo>
                    <a:pt x="142" y="339"/>
                    <a:pt x="142" y="339"/>
                    <a:pt x="142" y="339"/>
                  </a:cubicBezTo>
                  <a:cubicBezTo>
                    <a:pt x="142" y="336"/>
                    <a:pt x="142" y="332"/>
                    <a:pt x="139" y="330"/>
                  </a:cubicBezTo>
                  <a:cubicBezTo>
                    <a:pt x="133" y="326"/>
                    <a:pt x="127" y="323"/>
                    <a:pt x="121" y="326"/>
                  </a:cubicBezTo>
                  <a:cubicBezTo>
                    <a:pt x="117" y="328"/>
                    <a:pt x="113" y="331"/>
                    <a:pt x="110" y="333"/>
                  </a:cubicBezTo>
                  <a:cubicBezTo>
                    <a:pt x="98" y="339"/>
                    <a:pt x="85" y="333"/>
                    <a:pt x="83" y="320"/>
                  </a:cubicBezTo>
                  <a:cubicBezTo>
                    <a:pt x="81" y="307"/>
                    <a:pt x="85" y="294"/>
                    <a:pt x="92" y="282"/>
                  </a:cubicBezTo>
                  <a:cubicBezTo>
                    <a:pt x="99" y="271"/>
                    <a:pt x="108" y="260"/>
                    <a:pt x="120" y="256"/>
                  </a:cubicBezTo>
                  <a:cubicBezTo>
                    <a:pt x="132" y="251"/>
                    <a:pt x="144" y="259"/>
                    <a:pt x="144" y="272"/>
                  </a:cubicBezTo>
                  <a:cubicBezTo>
                    <a:pt x="145" y="276"/>
                    <a:pt x="144" y="281"/>
                    <a:pt x="144" y="285"/>
                  </a:cubicBezTo>
                  <a:cubicBezTo>
                    <a:pt x="145" y="293"/>
                    <a:pt x="150" y="296"/>
                    <a:pt x="157" y="299"/>
                  </a:cubicBezTo>
                  <a:cubicBezTo>
                    <a:pt x="160" y="301"/>
                    <a:pt x="163" y="299"/>
                    <a:pt x="166" y="297"/>
                  </a:cubicBezTo>
                  <a:cubicBezTo>
                    <a:pt x="334" y="6"/>
                    <a:pt x="334" y="6"/>
                    <a:pt x="334" y="6"/>
                  </a:cubicBezTo>
                  <a:cubicBezTo>
                    <a:pt x="337" y="2"/>
                    <a:pt x="343" y="0"/>
                    <a:pt x="347" y="3"/>
                  </a:cubicBezTo>
                  <a:cubicBezTo>
                    <a:pt x="480" y="102"/>
                    <a:pt x="524" y="251"/>
                    <a:pt x="535" y="353"/>
                  </a:cubicBezTo>
                  <a:cubicBezTo>
                    <a:pt x="542" y="405"/>
                    <a:pt x="507" y="442"/>
                    <a:pt x="511" y="473"/>
                  </a:cubicBezTo>
                  <a:cubicBezTo>
                    <a:pt x="518" y="532"/>
                    <a:pt x="648" y="625"/>
                    <a:pt x="651" y="690"/>
                  </a:cubicBezTo>
                  <a:cubicBezTo>
                    <a:pt x="654" y="734"/>
                    <a:pt x="565" y="752"/>
                    <a:pt x="550" y="781"/>
                  </a:cubicBezTo>
                  <a:cubicBezTo>
                    <a:pt x="543" y="794"/>
                    <a:pt x="562" y="823"/>
                    <a:pt x="560" y="841"/>
                  </a:cubicBezTo>
                  <a:cubicBezTo>
                    <a:pt x="559" y="857"/>
                    <a:pt x="515" y="874"/>
                    <a:pt x="515" y="874"/>
                  </a:cubicBezTo>
                  <a:cubicBezTo>
                    <a:pt x="515" y="874"/>
                    <a:pt x="546" y="903"/>
                    <a:pt x="548" y="916"/>
                  </a:cubicBezTo>
                  <a:cubicBezTo>
                    <a:pt x="549" y="932"/>
                    <a:pt x="520" y="957"/>
                    <a:pt x="519" y="973"/>
                  </a:cubicBezTo>
                  <a:cubicBezTo>
                    <a:pt x="519" y="989"/>
                    <a:pt x="545" y="1030"/>
                    <a:pt x="532" y="1073"/>
                  </a:cubicBezTo>
                  <a:cubicBezTo>
                    <a:pt x="515" y="1130"/>
                    <a:pt x="356" y="1091"/>
                    <a:pt x="288" y="1083"/>
                  </a:cubicBezTo>
                  <a:cubicBezTo>
                    <a:pt x="286" y="1083"/>
                    <a:pt x="283" y="1082"/>
                    <a:pt x="282" y="1079"/>
                  </a:cubicBezTo>
                  <a:cubicBezTo>
                    <a:pt x="177" y="898"/>
                    <a:pt x="177" y="898"/>
                    <a:pt x="177" y="898"/>
                  </a:cubicBezTo>
                  <a:cubicBezTo>
                    <a:pt x="188" y="902"/>
                    <a:pt x="199" y="902"/>
                    <a:pt x="208" y="896"/>
                  </a:cubicBezTo>
                  <a:close/>
                </a:path>
              </a:pathLst>
            </a:custGeom>
            <a:grp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sp>
          <p:nvSpPr>
            <p:cNvPr id="48" name="Google Shape;1502;p52">
              <a:extLst>
                <a:ext uri="{FF2B5EF4-FFF2-40B4-BE49-F238E27FC236}">
                  <a16:creationId xmlns:a16="http://schemas.microsoft.com/office/drawing/2014/main" id="{0E6F32FF-2CBF-4DED-9B8F-B0C71F80810A}"/>
                </a:ext>
              </a:extLst>
            </p:cNvPr>
            <p:cNvSpPr/>
            <p:nvPr/>
          </p:nvSpPr>
          <p:spPr>
            <a:xfrm flipH="1">
              <a:off x="2750903" y="1372925"/>
              <a:ext cx="354381" cy="358367"/>
            </a:xfrm>
            <a:custGeom>
              <a:avLst/>
              <a:gdLst/>
              <a:ahLst/>
              <a:cxnLst/>
              <a:rect l="l" t="t" r="r" b="b"/>
              <a:pathLst>
                <a:path w="704" h="712" extrusionOk="0">
                  <a:moveTo>
                    <a:pt x="11" y="0"/>
                  </a:moveTo>
                  <a:cubicBezTo>
                    <a:pt x="170" y="0"/>
                    <a:pt x="170" y="0"/>
                    <a:pt x="170" y="0"/>
                  </a:cubicBezTo>
                  <a:cubicBezTo>
                    <a:pt x="162" y="7"/>
                    <a:pt x="157" y="17"/>
                    <a:pt x="157" y="28"/>
                  </a:cubicBezTo>
                  <a:cubicBezTo>
                    <a:pt x="157" y="38"/>
                    <a:pt x="162" y="48"/>
                    <a:pt x="170" y="55"/>
                  </a:cubicBezTo>
                  <a:cubicBezTo>
                    <a:pt x="182" y="65"/>
                    <a:pt x="199" y="70"/>
                    <a:pt x="218" y="70"/>
                  </a:cubicBezTo>
                  <a:cubicBezTo>
                    <a:pt x="237" y="70"/>
                    <a:pt x="254" y="65"/>
                    <a:pt x="267" y="55"/>
                  </a:cubicBezTo>
                  <a:cubicBezTo>
                    <a:pt x="275" y="48"/>
                    <a:pt x="280" y="38"/>
                    <a:pt x="280" y="28"/>
                  </a:cubicBezTo>
                  <a:cubicBezTo>
                    <a:pt x="280" y="17"/>
                    <a:pt x="275" y="7"/>
                    <a:pt x="266" y="0"/>
                  </a:cubicBezTo>
                  <a:cubicBezTo>
                    <a:pt x="411" y="0"/>
                    <a:pt x="411" y="0"/>
                    <a:pt x="411" y="0"/>
                  </a:cubicBezTo>
                  <a:cubicBezTo>
                    <a:pt x="417" y="0"/>
                    <a:pt x="423" y="3"/>
                    <a:pt x="426" y="9"/>
                  </a:cubicBezTo>
                  <a:cubicBezTo>
                    <a:pt x="565" y="249"/>
                    <a:pt x="565" y="249"/>
                    <a:pt x="565" y="249"/>
                  </a:cubicBezTo>
                  <a:cubicBezTo>
                    <a:pt x="568" y="251"/>
                    <a:pt x="571" y="253"/>
                    <a:pt x="575" y="251"/>
                  </a:cubicBezTo>
                  <a:cubicBezTo>
                    <a:pt x="581" y="248"/>
                    <a:pt x="586" y="244"/>
                    <a:pt x="587" y="237"/>
                  </a:cubicBezTo>
                  <a:cubicBezTo>
                    <a:pt x="587" y="233"/>
                    <a:pt x="587" y="228"/>
                    <a:pt x="587" y="224"/>
                  </a:cubicBezTo>
                  <a:cubicBezTo>
                    <a:pt x="587" y="211"/>
                    <a:pt x="599" y="203"/>
                    <a:pt x="611" y="208"/>
                  </a:cubicBezTo>
                  <a:cubicBezTo>
                    <a:pt x="623" y="212"/>
                    <a:pt x="633" y="223"/>
                    <a:pt x="639" y="234"/>
                  </a:cubicBezTo>
                  <a:cubicBezTo>
                    <a:pt x="646" y="245"/>
                    <a:pt x="650" y="259"/>
                    <a:pt x="648" y="272"/>
                  </a:cubicBezTo>
                  <a:cubicBezTo>
                    <a:pt x="646" y="285"/>
                    <a:pt x="633" y="290"/>
                    <a:pt x="622" y="284"/>
                  </a:cubicBezTo>
                  <a:cubicBezTo>
                    <a:pt x="618" y="282"/>
                    <a:pt x="614" y="280"/>
                    <a:pt x="611" y="278"/>
                  </a:cubicBezTo>
                  <a:cubicBezTo>
                    <a:pt x="604" y="275"/>
                    <a:pt x="598" y="278"/>
                    <a:pt x="592" y="282"/>
                  </a:cubicBezTo>
                  <a:cubicBezTo>
                    <a:pt x="589" y="283"/>
                    <a:pt x="589" y="287"/>
                    <a:pt x="589" y="291"/>
                  </a:cubicBezTo>
                  <a:cubicBezTo>
                    <a:pt x="700" y="482"/>
                    <a:pt x="700" y="482"/>
                    <a:pt x="700" y="482"/>
                  </a:cubicBezTo>
                  <a:cubicBezTo>
                    <a:pt x="700" y="482"/>
                    <a:pt x="701" y="484"/>
                    <a:pt x="700" y="485"/>
                  </a:cubicBezTo>
                  <a:cubicBezTo>
                    <a:pt x="700" y="487"/>
                    <a:pt x="699" y="488"/>
                    <a:pt x="699" y="488"/>
                  </a:cubicBezTo>
                  <a:cubicBezTo>
                    <a:pt x="699" y="488"/>
                    <a:pt x="699" y="488"/>
                    <a:pt x="699" y="488"/>
                  </a:cubicBezTo>
                  <a:cubicBezTo>
                    <a:pt x="671" y="516"/>
                    <a:pt x="704" y="593"/>
                    <a:pt x="688" y="619"/>
                  </a:cubicBezTo>
                  <a:cubicBezTo>
                    <a:pt x="664" y="659"/>
                    <a:pt x="299" y="712"/>
                    <a:pt x="119" y="586"/>
                  </a:cubicBezTo>
                  <a:cubicBezTo>
                    <a:pt x="83" y="561"/>
                    <a:pt x="129" y="479"/>
                    <a:pt x="98" y="269"/>
                  </a:cubicBezTo>
                  <a:cubicBezTo>
                    <a:pt x="84" y="172"/>
                    <a:pt x="45" y="96"/>
                    <a:pt x="3" y="12"/>
                  </a:cubicBezTo>
                  <a:cubicBezTo>
                    <a:pt x="0" y="7"/>
                    <a:pt x="4" y="0"/>
                    <a:pt x="11" y="0"/>
                  </a:cubicBezTo>
                  <a:close/>
                </a:path>
              </a:pathLst>
            </a:custGeom>
            <a:grp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5576310" cy="665100"/>
          </a:xfrm>
        </p:spPr>
        <p:txBody>
          <a:bodyPr/>
          <a:lstStyle/>
          <a:p>
            <a:r>
              <a:rPr lang="en-CA" dirty="0"/>
              <a:t>Exploratory Data Analysis</a:t>
            </a:r>
          </a:p>
        </p:txBody>
      </p:sp>
      <p:sp>
        <p:nvSpPr>
          <p:cNvPr id="19" name="TextBox 18">
            <a:extLst>
              <a:ext uri="{FF2B5EF4-FFF2-40B4-BE49-F238E27FC236}">
                <a16:creationId xmlns:a16="http://schemas.microsoft.com/office/drawing/2014/main" id="{DEB8E808-AF29-4624-B380-E7E27A7716EF}"/>
              </a:ext>
            </a:extLst>
          </p:cNvPr>
          <p:cNvSpPr txBox="1"/>
          <p:nvPr/>
        </p:nvSpPr>
        <p:spPr>
          <a:xfrm>
            <a:off x="124835" y="944158"/>
            <a:ext cx="2789396" cy="584775"/>
          </a:xfrm>
          <a:prstGeom prst="rect">
            <a:avLst/>
          </a:prstGeom>
          <a:noFill/>
        </p:spPr>
        <p:txBody>
          <a:bodyPr wrap="square" rtlCol="0">
            <a:spAutoFit/>
          </a:bodyPr>
          <a:lstStyle/>
          <a:p>
            <a:r>
              <a:rPr lang="en-US" sz="1600" b="1" dirty="0">
                <a:solidFill>
                  <a:schemeClr val="bg1"/>
                </a:solidFill>
                <a:latin typeface="Abel" panose="020B0604020202020204" charset="0"/>
                <a:cs typeface="Arial" panose="020B0604020202020204" pitchFamily="34" charset="0"/>
              </a:rPr>
              <a:t>First Round of Data Discovery</a:t>
            </a:r>
          </a:p>
          <a:p>
            <a:endParaRPr lang="en-CA" sz="1600" b="1" dirty="0">
              <a:solidFill>
                <a:schemeClr val="bg1"/>
              </a:solidFill>
            </a:endParaRPr>
          </a:p>
        </p:txBody>
      </p:sp>
      <p:sp>
        <p:nvSpPr>
          <p:cNvPr id="13" name="TextBox 12">
            <a:extLst>
              <a:ext uri="{FF2B5EF4-FFF2-40B4-BE49-F238E27FC236}">
                <a16:creationId xmlns:a16="http://schemas.microsoft.com/office/drawing/2014/main" id="{04CCAB39-6961-4AEE-8DA1-901CD09ED45D}"/>
              </a:ext>
            </a:extLst>
          </p:cNvPr>
          <p:cNvSpPr txBox="1"/>
          <p:nvPr/>
        </p:nvSpPr>
        <p:spPr>
          <a:xfrm>
            <a:off x="5636876" y="943121"/>
            <a:ext cx="3136829" cy="584775"/>
          </a:xfrm>
          <a:prstGeom prst="rect">
            <a:avLst/>
          </a:prstGeom>
          <a:noFill/>
        </p:spPr>
        <p:txBody>
          <a:bodyPr wrap="square" rtlCol="0">
            <a:spAutoFit/>
          </a:bodyPr>
          <a:lstStyle/>
          <a:p>
            <a:r>
              <a:rPr lang="en-US" sz="1600" b="1" dirty="0">
                <a:solidFill>
                  <a:schemeClr val="bg1"/>
                </a:solidFill>
                <a:latin typeface="Abel" panose="020B0604020202020204" charset="0"/>
                <a:cs typeface="Arial" panose="020B0604020202020204" pitchFamily="34" charset="0"/>
              </a:rPr>
              <a:t>Second  Round of Data Discovery</a:t>
            </a:r>
          </a:p>
          <a:p>
            <a:endParaRPr lang="en-CA" sz="1600" b="1" dirty="0">
              <a:solidFill>
                <a:schemeClr val="bg1"/>
              </a:solidFill>
            </a:endParaRPr>
          </a:p>
        </p:txBody>
      </p:sp>
      <p:grpSp>
        <p:nvGrpSpPr>
          <p:cNvPr id="15" name="Filter2" descr="{&quot;Key&quot;:&quot;POWER_USER_SHAPE_ICON&quot;,&quot;Value&quot;:&quot;POWER_USER_SHAPE_ICON_STYLE_1&quot;}">
            <a:extLst>
              <a:ext uri="{FF2B5EF4-FFF2-40B4-BE49-F238E27FC236}">
                <a16:creationId xmlns:a16="http://schemas.microsoft.com/office/drawing/2014/main" id="{50C7E0E2-4F57-4D3A-A307-A6B972618CE3}"/>
              </a:ext>
            </a:extLst>
          </p:cNvPr>
          <p:cNvGrpSpPr>
            <a:grpSpLocks noChangeAspect="1"/>
          </p:cNvGrpSpPr>
          <p:nvPr>
            <p:custDataLst>
              <p:tags r:id="rId1"/>
            </p:custDataLst>
          </p:nvPr>
        </p:nvGrpSpPr>
        <p:grpSpPr>
          <a:xfrm>
            <a:off x="658065" y="1884310"/>
            <a:ext cx="808556" cy="1168977"/>
            <a:chOff x="6282508" y="384175"/>
            <a:chExt cx="762817" cy="973138"/>
          </a:xfrm>
          <a:solidFill>
            <a:schemeClr val="accent1"/>
          </a:solidFill>
        </p:grpSpPr>
        <p:sp>
          <p:nvSpPr>
            <p:cNvPr id="17" name="Freeform 44">
              <a:extLst>
                <a:ext uri="{FF2B5EF4-FFF2-40B4-BE49-F238E27FC236}">
                  <a16:creationId xmlns:a16="http://schemas.microsoft.com/office/drawing/2014/main" id="{1DA6416C-58B0-4E9E-B642-C3E5F29BCD9F}"/>
                </a:ext>
              </a:extLst>
            </p:cNvPr>
            <p:cNvSpPr>
              <a:spLocks/>
            </p:cNvSpPr>
            <p:nvPr/>
          </p:nvSpPr>
          <p:spPr bwMode="auto">
            <a:xfrm>
              <a:off x="6311900" y="588963"/>
              <a:ext cx="733425" cy="577850"/>
            </a:xfrm>
            <a:custGeom>
              <a:avLst/>
              <a:gdLst>
                <a:gd name="T0" fmla="*/ 0 w 462"/>
                <a:gd name="T1" fmla="*/ 0 h 364"/>
                <a:gd name="T2" fmla="*/ 174 w 462"/>
                <a:gd name="T3" fmla="*/ 208 h 364"/>
                <a:gd name="T4" fmla="*/ 174 w 462"/>
                <a:gd name="T5" fmla="*/ 364 h 364"/>
                <a:gd name="T6" fmla="*/ 288 w 462"/>
                <a:gd name="T7" fmla="*/ 318 h 364"/>
                <a:gd name="T8" fmla="*/ 288 w 462"/>
                <a:gd name="T9" fmla="*/ 208 h 364"/>
                <a:gd name="T10" fmla="*/ 462 w 462"/>
                <a:gd name="T11" fmla="*/ 0 h 364"/>
                <a:gd name="T12" fmla="*/ 0 w 462"/>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462" h="364">
                  <a:moveTo>
                    <a:pt x="0" y="0"/>
                  </a:moveTo>
                  <a:lnTo>
                    <a:pt x="174" y="208"/>
                  </a:lnTo>
                  <a:lnTo>
                    <a:pt x="174" y="364"/>
                  </a:lnTo>
                  <a:lnTo>
                    <a:pt x="288" y="318"/>
                  </a:lnTo>
                  <a:lnTo>
                    <a:pt x="288" y="208"/>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45">
              <a:extLst>
                <a:ext uri="{FF2B5EF4-FFF2-40B4-BE49-F238E27FC236}">
                  <a16:creationId xmlns:a16="http://schemas.microsoft.com/office/drawing/2014/main" id="{DD168490-9C48-4E44-8606-09F409F98937}"/>
                </a:ext>
              </a:extLst>
            </p:cNvPr>
            <p:cNvSpPr>
              <a:spLocks noEditPoints="1"/>
            </p:cNvSpPr>
            <p:nvPr/>
          </p:nvSpPr>
          <p:spPr bwMode="auto">
            <a:xfrm>
              <a:off x="6600825" y="1203325"/>
              <a:ext cx="155575" cy="153988"/>
            </a:xfrm>
            <a:custGeom>
              <a:avLst/>
              <a:gdLst>
                <a:gd name="T0" fmla="*/ 128 w 256"/>
                <a:gd name="T1" fmla="*/ 177 h 256"/>
                <a:gd name="T2" fmla="*/ 79 w 256"/>
                <a:gd name="T3" fmla="*/ 128 h 256"/>
                <a:gd name="T4" fmla="*/ 128 w 256"/>
                <a:gd name="T5" fmla="*/ 80 h 256"/>
                <a:gd name="T6" fmla="*/ 176 w 256"/>
                <a:gd name="T7" fmla="*/ 128 h 256"/>
                <a:gd name="T8" fmla="*/ 128 w 256"/>
                <a:gd name="T9" fmla="*/ 177 h 256"/>
                <a:gd name="T10" fmla="*/ 128 w 256"/>
                <a:gd name="T11" fmla="*/ 0 h 256"/>
                <a:gd name="T12" fmla="*/ 0 w 256"/>
                <a:gd name="T13" fmla="*/ 128 h 256"/>
                <a:gd name="T14" fmla="*/ 128 w 256"/>
                <a:gd name="T15" fmla="*/ 256 h 256"/>
                <a:gd name="T16" fmla="*/ 256 w 256"/>
                <a:gd name="T17" fmla="*/ 128 h 256"/>
                <a:gd name="T18" fmla="*/ 128 w 25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177"/>
                  </a:moveTo>
                  <a:cubicBezTo>
                    <a:pt x="101" y="177"/>
                    <a:pt x="79" y="155"/>
                    <a:pt x="79" y="128"/>
                  </a:cubicBezTo>
                  <a:cubicBezTo>
                    <a:pt x="79" y="101"/>
                    <a:pt x="101" y="80"/>
                    <a:pt x="128" y="80"/>
                  </a:cubicBezTo>
                  <a:cubicBezTo>
                    <a:pt x="155" y="80"/>
                    <a:pt x="176" y="101"/>
                    <a:pt x="176" y="128"/>
                  </a:cubicBezTo>
                  <a:cubicBezTo>
                    <a:pt x="176" y="155"/>
                    <a:pt x="155" y="177"/>
                    <a:pt x="128" y="177"/>
                  </a:cubicBezTo>
                  <a:close/>
                  <a:moveTo>
                    <a:pt x="128" y="0"/>
                  </a:moveTo>
                  <a:cubicBezTo>
                    <a:pt x="57" y="0"/>
                    <a:pt x="0" y="58"/>
                    <a:pt x="0" y="128"/>
                  </a:cubicBezTo>
                  <a:cubicBezTo>
                    <a:pt x="0" y="199"/>
                    <a:pt x="57" y="256"/>
                    <a:pt x="128" y="256"/>
                  </a:cubicBezTo>
                  <a:cubicBezTo>
                    <a:pt x="198" y="256"/>
                    <a:pt x="256" y="199"/>
                    <a:pt x="256" y="128"/>
                  </a:cubicBezTo>
                  <a:cubicBezTo>
                    <a:pt x="256" y="58"/>
                    <a:pt x="198" y="0"/>
                    <a:pt x="1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46">
              <a:extLst>
                <a:ext uri="{FF2B5EF4-FFF2-40B4-BE49-F238E27FC236}">
                  <a16:creationId xmlns:a16="http://schemas.microsoft.com/office/drawing/2014/main" id="{02A22CD4-08DA-4811-9E5D-D57228B9F87A}"/>
                </a:ext>
              </a:extLst>
            </p:cNvPr>
            <p:cNvSpPr>
              <a:spLocks noEditPoints="1"/>
            </p:cNvSpPr>
            <p:nvPr/>
          </p:nvSpPr>
          <p:spPr bwMode="auto">
            <a:xfrm>
              <a:off x="6515868" y="384175"/>
              <a:ext cx="155575"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6" y="102"/>
                    <a:pt x="176" y="128"/>
                  </a:cubicBezTo>
                  <a:cubicBezTo>
                    <a:pt x="176" y="155"/>
                    <a:pt x="155"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47">
              <a:extLst>
                <a:ext uri="{FF2B5EF4-FFF2-40B4-BE49-F238E27FC236}">
                  <a16:creationId xmlns:a16="http://schemas.microsoft.com/office/drawing/2014/main" id="{28B5578E-632D-47CF-B554-1739D1C667B2}"/>
                </a:ext>
              </a:extLst>
            </p:cNvPr>
            <p:cNvSpPr>
              <a:spLocks noEditPoints="1"/>
            </p:cNvSpPr>
            <p:nvPr/>
          </p:nvSpPr>
          <p:spPr bwMode="auto">
            <a:xfrm>
              <a:off x="6282508" y="384175"/>
              <a:ext cx="153988"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4" y="80"/>
                    <a:pt x="176" y="102"/>
                    <a:pt x="176" y="128"/>
                  </a:cubicBezTo>
                  <a:cubicBezTo>
                    <a:pt x="176" y="155"/>
                    <a:pt x="154"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48">
              <a:extLst>
                <a:ext uri="{FF2B5EF4-FFF2-40B4-BE49-F238E27FC236}">
                  <a16:creationId xmlns:a16="http://schemas.microsoft.com/office/drawing/2014/main" id="{D99C5FE2-36FC-453E-96C0-B6208784AB80}"/>
                </a:ext>
              </a:extLst>
            </p:cNvPr>
            <p:cNvSpPr>
              <a:spLocks noEditPoints="1"/>
            </p:cNvSpPr>
            <p:nvPr/>
          </p:nvSpPr>
          <p:spPr bwMode="auto">
            <a:xfrm>
              <a:off x="6750819" y="384175"/>
              <a:ext cx="153988" cy="153988"/>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575F6B71-7B35-4D49-A0F0-D8D121956FE6}"/>
              </a:ext>
            </a:extLst>
          </p:cNvPr>
          <p:cNvSpPr txBox="1"/>
          <p:nvPr/>
        </p:nvSpPr>
        <p:spPr>
          <a:xfrm>
            <a:off x="612577" y="1534701"/>
            <a:ext cx="1051469" cy="276999"/>
          </a:xfrm>
          <a:prstGeom prst="rect">
            <a:avLst/>
          </a:prstGeom>
          <a:noFill/>
        </p:spPr>
        <p:txBody>
          <a:bodyPr wrap="square" rtlCol="0">
            <a:spAutoFit/>
          </a:bodyPr>
          <a:lstStyle/>
          <a:p>
            <a:r>
              <a:rPr lang="en-CA" sz="1200" dirty="0">
                <a:solidFill>
                  <a:schemeClr val="bg1"/>
                </a:solidFill>
              </a:rPr>
              <a:t>4 datasets</a:t>
            </a:r>
          </a:p>
        </p:txBody>
      </p:sp>
      <p:pic>
        <p:nvPicPr>
          <p:cNvPr id="4" name="Picture 3">
            <a:extLst>
              <a:ext uri="{FF2B5EF4-FFF2-40B4-BE49-F238E27FC236}">
                <a16:creationId xmlns:a16="http://schemas.microsoft.com/office/drawing/2014/main" id="{B4033748-986C-4371-B779-E8CFA789289C}"/>
              </a:ext>
            </a:extLst>
          </p:cNvPr>
          <p:cNvPicPr>
            <a:picLocks noChangeAspect="1"/>
          </p:cNvPicPr>
          <p:nvPr/>
        </p:nvPicPr>
        <p:blipFill>
          <a:blip r:embed="rId6"/>
          <a:stretch>
            <a:fillRect/>
          </a:stretch>
        </p:blipFill>
        <p:spPr>
          <a:xfrm>
            <a:off x="1466621" y="2241287"/>
            <a:ext cx="394850" cy="422398"/>
          </a:xfrm>
          <a:prstGeom prst="rect">
            <a:avLst/>
          </a:prstGeom>
        </p:spPr>
      </p:pic>
      <p:sp>
        <p:nvSpPr>
          <p:cNvPr id="26" name="TextBox 25">
            <a:extLst>
              <a:ext uri="{FF2B5EF4-FFF2-40B4-BE49-F238E27FC236}">
                <a16:creationId xmlns:a16="http://schemas.microsoft.com/office/drawing/2014/main" id="{EAAA3ED8-98BD-49A3-831B-F0EF541D46D2}"/>
              </a:ext>
            </a:extLst>
          </p:cNvPr>
          <p:cNvSpPr txBox="1"/>
          <p:nvPr/>
        </p:nvSpPr>
        <p:spPr>
          <a:xfrm>
            <a:off x="263639" y="3050558"/>
            <a:ext cx="3766068" cy="892552"/>
          </a:xfrm>
          <a:prstGeom prst="rect">
            <a:avLst/>
          </a:prstGeom>
          <a:noFill/>
        </p:spPr>
        <p:txBody>
          <a:bodyPr wrap="square" rtlCol="0">
            <a:spAutoFit/>
          </a:bodyPr>
          <a:lstStyle/>
          <a:p>
            <a:r>
              <a:rPr lang="en-CA" sz="1200" dirty="0">
                <a:solidFill>
                  <a:schemeClr val="lt1"/>
                </a:solidFill>
                <a:latin typeface="Abel" panose="020B0604020202020204" charset="0"/>
                <a:ea typeface="Encode Sans Semi Condensed"/>
                <a:cs typeface="Encode Sans Semi Condensed"/>
                <a:sym typeface="Encode Sans Semi Condensed"/>
              </a:rPr>
              <a:t>Findings of Initial Review using Python</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Weather data extracted from </a:t>
            </a:r>
            <a:r>
              <a:rPr lang="en-US" sz="1000" dirty="0" err="1">
                <a:solidFill>
                  <a:schemeClr val="bg1"/>
                </a:solidFill>
                <a:latin typeface="Abel" panose="020B0604020202020204" charset="0"/>
              </a:rPr>
              <a:t>openwheathermap</a:t>
            </a:r>
            <a:r>
              <a:rPr lang="en-US" sz="1000" dirty="0">
                <a:solidFill>
                  <a:schemeClr val="bg1"/>
                </a:solidFill>
                <a:latin typeface="Abel" panose="020B0604020202020204" charset="0"/>
              </a:rPr>
              <a:t> was reliable </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Covid data had discrepancies for both citie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Frequent changes in formats of recording data causing data jitter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New sources were identified</a:t>
            </a:r>
          </a:p>
        </p:txBody>
      </p:sp>
      <p:sp>
        <p:nvSpPr>
          <p:cNvPr id="27" name="Freeform 48">
            <a:extLst>
              <a:ext uri="{FF2B5EF4-FFF2-40B4-BE49-F238E27FC236}">
                <a16:creationId xmlns:a16="http://schemas.microsoft.com/office/drawing/2014/main" id="{A9824BAA-F134-4BC5-8240-9FAE5A4137FC}"/>
              </a:ext>
            </a:extLst>
          </p:cNvPr>
          <p:cNvSpPr>
            <a:spLocks noEditPoints="1"/>
          </p:cNvSpPr>
          <p:nvPr/>
        </p:nvSpPr>
        <p:spPr bwMode="auto">
          <a:xfrm>
            <a:off x="1371156" y="1884310"/>
            <a:ext cx="163221" cy="184977"/>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Filter2" descr="{&quot;Key&quot;:&quot;POWER_USER_SHAPE_ICON&quot;,&quot;Value&quot;:&quot;POWER_USER_SHAPE_ICON_STYLE_1&quot;}">
            <a:extLst>
              <a:ext uri="{FF2B5EF4-FFF2-40B4-BE49-F238E27FC236}">
                <a16:creationId xmlns:a16="http://schemas.microsoft.com/office/drawing/2014/main" id="{B6BCAEC2-7ED5-40E1-AE2E-1D060885C0FB}"/>
              </a:ext>
            </a:extLst>
          </p:cNvPr>
          <p:cNvGrpSpPr>
            <a:grpSpLocks noChangeAspect="1"/>
          </p:cNvGrpSpPr>
          <p:nvPr>
            <p:custDataLst>
              <p:tags r:id="rId2"/>
            </p:custDataLst>
          </p:nvPr>
        </p:nvGrpSpPr>
        <p:grpSpPr>
          <a:xfrm>
            <a:off x="6402647" y="1845203"/>
            <a:ext cx="777401" cy="1168977"/>
            <a:chOff x="6311900" y="384175"/>
            <a:chExt cx="733425" cy="973138"/>
          </a:xfrm>
          <a:solidFill>
            <a:schemeClr val="tx1">
              <a:lumMod val="25000"/>
              <a:lumOff val="75000"/>
            </a:schemeClr>
          </a:solidFill>
        </p:grpSpPr>
        <p:sp>
          <p:nvSpPr>
            <p:cNvPr id="29" name="Freeform 44">
              <a:extLst>
                <a:ext uri="{FF2B5EF4-FFF2-40B4-BE49-F238E27FC236}">
                  <a16:creationId xmlns:a16="http://schemas.microsoft.com/office/drawing/2014/main" id="{FBA07473-31E5-4DED-BAEF-AEC597191A1B}"/>
                </a:ext>
              </a:extLst>
            </p:cNvPr>
            <p:cNvSpPr>
              <a:spLocks/>
            </p:cNvSpPr>
            <p:nvPr/>
          </p:nvSpPr>
          <p:spPr bwMode="auto">
            <a:xfrm>
              <a:off x="6311900" y="588963"/>
              <a:ext cx="733425" cy="577850"/>
            </a:xfrm>
            <a:custGeom>
              <a:avLst/>
              <a:gdLst>
                <a:gd name="T0" fmla="*/ 0 w 462"/>
                <a:gd name="T1" fmla="*/ 0 h 364"/>
                <a:gd name="T2" fmla="*/ 174 w 462"/>
                <a:gd name="T3" fmla="*/ 208 h 364"/>
                <a:gd name="T4" fmla="*/ 174 w 462"/>
                <a:gd name="T5" fmla="*/ 364 h 364"/>
                <a:gd name="T6" fmla="*/ 288 w 462"/>
                <a:gd name="T7" fmla="*/ 318 h 364"/>
                <a:gd name="T8" fmla="*/ 288 w 462"/>
                <a:gd name="T9" fmla="*/ 208 h 364"/>
                <a:gd name="T10" fmla="*/ 462 w 462"/>
                <a:gd name="T11" fmla="*/ 0 h 364"/>
                <a:gd name="T12" fmla="*/ 0 w 462"/>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462" h="364">
                  <a:moveTo>
                    <a:pt x="0" y="0"/>
                  </a:moveTo>
                  <a:lnTo>
                    <a:pt x="174" y="208"/>
                  </a:lnTo>
                  <a:lnTo>
                    <a:pt x="174" y="364"/>
                  </a:lnTo>
                  <a:lnTo>
                    <a:pt x="288" y="318"/>
                  </a:lnTo>
                  <a:lnTo>
                    <a:pt x="288" y="208"/>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45">
              <a:extLst>
                <a:ext uri="{FF2B5EF4-FFF2-40B4-BE49-F238E27FC236}">
                  <a16:creationId xmlns:a16="http://schemas.microsoft.com/office/drawing/2014/main" id="{D2A2F448-3D5B-44AE-8181-2DD34999E7BB}"/>
                </a:ext>
              </a:extLst>
            </p:cNvPr>
            <p:cNvSpPr>
              <a:spLocks noEditPoints="1"/>
            </p:cNvSpPr>
            <p:nvPr/>
          </p:nvSpPr>
          <p:spPr bwMode="auto">
            <a:xfrm>
              <a:off x="6600825" y="1203325"/>
              <a:ext cx="155575" cy="153988"/>
            </a:xfrm>
            <a:custGeom>
              <a:avLst/>
              <a:gdLst>
                <a:gd name="T0" fmla="*/ 128 w 256"/>
                <a:gd name="T1" fmla="*/ 177 h 256"/>
                <a:gd name="T2" fmla="*/ 79 w 256"/>
                <a:gd name="T3" fmla="*/ 128 h 256"/>
                <a:gd name="T4" fmla="*/ 128 w 256"/>
                <a:gd name="T5" fmla="*/ 80 h 256"/>
                <a:gd name="T6" fmla="*/ 176 w 256"/>
                <a:gd name="T7" fmla="*/ 128 h 256"/>
                <a:gd name="T8" fmla="*/ 128 w 256"/>
                <a:gd name="T9" fmla="*/ 177 h 256"/>
                <a:gd name="T10" fmla="*/ 128 w 256"/>
                <a:gd name="T11" fmla="*/ 0 h 256"/>
                <a:gd name="T12" fmla="*/ 0 w 256"/>
                <a:gd name="T13" fmla="*/ 128 h 256"/>
                <a:gd name="T14" fmla="*/ 128 w 256"/>
                <a:gd name="T15" fmla="*/ 256 h 256"/>
                <a:gd name="T16" fmla="*/ 256 w 256"/>
                <a:gd name="T17" fmla="*/ 128 h 256"/>
                <a:gd name="T18" fmla="*/ 128 w 25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177"/>
                  </a:moveTo>
                  <a:cubicBezTo>
                    <a:pt x="101" y="177"/>
                    <a:pt x="79" y="155"/>
                    <a:pt x="79" y="128"/>
                  </a:cubicBezTo>
                  <a:cubicBezTo>
                    <a:pt x="79" y="101"/>
                    <a:pt x="101" y="80"/>
                    <a:pt x="128" y="80"/>
                  </a:cubicBezTo>
                  <a:cubicBezTo>
                    <a:pt x="155" y="80"/>
                    <a:pt x="176" y="101"/>
                    <a:pt x="176" y="128"/>
                  </a:cubicBezTo>
                  <a:cubicBezTo>
                    <a:pt x="176" y="155"/>
                    <a:pt x="155" y="177"/>
                    <a:pt x="128" y="177"/>
                  </a:cubicBezTo>
                  <a:close/>
                  <a:moveTo>
                    <a:pt x="128" y="0"/>
                  </a:moveTo>
                  <a:cubicBezTo>
                    <a:pt x="57" y="0"/>
                    <a:pt x="0" y="58"/>
                    <a:pt x="0" y="128"/>
                  </a:cubicBezTo>
                  <a:cubicBezTo>
                    <a:pt x="0" y="199"/>
                    <a:pt x="57" y="256"/>
                    <a:pt x="128" y="256"/>
                  </a:cubicBezTo>
                  <a:cubicBezTo>
                    <a:pt x="198" y="256"/>
                    <a:pt x="256" y="199"/>
                    <a:pt x="256" y="128"/>
                  </a:cubicBezTo>
                  <a:cubicBezTo>
                    <a:pt x="256" y="58"/>
                    <a:pt x="198" y="0"/>
                    <a:pt x="1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46">
              <a:extLst>
                <a:ext uri="{FF2B5EF4-FFF2-40B4-BE49-F238E27FC236}">
                  <a16:creationId xmlns:a16="http://schemas.microsoft.com/office/drawing/2014/main" id="{58A17F1B-3797-482F-8F49-D97E592A6F43}"/>
                </a:ext>
              </a:extLst>
            </p:cNvPr>
            <p:cNvSpPr>
              <a:spLocks noEditPoints="1"/>
            </p:cNvSpPr>
            <p:nvPr/>
          </p:nvSpPr>
          <p:spPr bwMode="auto">
            <a:xfrm>
              <a:off x="6561617" y="384175"/>
              <a:ext cx="155575"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6" y="102"/>
                    <a:pt x="176" y="128"/>
                  </a:cubicBezTo>
                  <a:cubicBezTo>
                    <a:pt x="176" y="155"/>
                    <a:pt x="155"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47">
              <a:extLst>
                <a:ext uri="{FF2B5EF4-FFF2-40B4-BE49-F238E27FC236}">
                  <a16:creationId xmlns:a16="http://schemas.microsoft.com/office/drawing/2014/main" id="{D63AB688-CD64-448F-B041-6C5F28AFAF4A}"/>
                </a:ext>
              </a:extLst>
            </p:cNvPr>
            <p:cNvSpPr>
              <a:spLocks noEditPoints="1"/>
            </p:cNvSpPr>
            <p:nvPr/>
          </p:nvSpPr>
          <p:spPr bwMode="auto">
            <a:xfrm>
              <a:off x="6328253" y="384175"/>
              <a:ext cx="153988"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4" y="80"/>
                    <a:pt x="176" y="102"/>
                    <a:pt x="176" y="128"/>
                  </a:cubicBezTo>
                  <a:cubicBezTo>
                    <a:pt x="176" y="155"/>
                    <a:pt x="154"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48">
              <a:extLst>
                <a:ext uri="{FF2B5EF4-FFF2-40B4-BE49-F238E27FC236}">
                  <a16:creationId xmlns:a16="http://schemas.microsoft.com/office/drawing/2014/main" id="{15D19458-688A-4703-887B-D83A7874F958}"/>
                </a:ext>
              </a:extLst>
            </p:cNvPr>
            <p:cNvSpPr>
              <a:spLocks noEditPoints="1"/>
            </p:cNvSpPr>
            <p:nvPr/>
          </p:nvSpPr>
          <p:spPr bwMode="auto">
            <a:xfrm>
              <a:off x="6796565" y="384175"/>
              <a:ext cx="153988" cy="153988"/>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TextBox 33">
            <a:extLst>
              <a:ext uri="{FF2B5EF4-FFF2-40B4-BE49-F238E27FC236}">
                <a16:creationId xmlns:a16="http://schemas.microsoft.com/office/drawing/2014/main" id="{4F330515-6CA4-44B5-A1AB-6C7F4B43CA05}"/>
              </a:ext>
            </a:extLst>
          </p:cNvPr>
          <p:cNvSpPr txBox="1"/>
          <p:nvPr/>
        </p:nvSpPr>
        <p:spPr>
          <a:xfrm>
            <a:off x="6342154" y="1504244"/>
            <a:ext cx="1051469" cy="276999"/>
          </a:xfrm>
          <a:prstGeom prst="rect">
            <a:avLst/>
          </a:prstGeom>
          <a:noFill/>
        </p:spPr>
        <p:txBody>
          <a:bodyPr wrap="square" rtlCol="0">
            <a:spAutoFit/>
          </a:bodyPr>
          <a:lstStyle/>
          <a:p>
            <a:r>
              <a:rPr lang="en-CA" sz="1200" dirty="0">
                <a:solidFill>
                  <a:schemeClr val="bg1"/>
                </a:solidFill>
              </a:rPr>
              <a:t>3 datasets</a:t>
            </a:r>
          </a:p>
        </p:txBody>
      </p:sp>
      <p:sp>
        <p:nvSpPr>
          <p:cNvPr id="35" name="TextBox 34">
            <a:extLst>
              <a:ext uri="{FF2B5EF4-FFF2-40B4-BE49-F238E27FC236}">
                <a16:creationId xmlns:a16="http://schemas.microsoft.com/office/drawing/2014/main" id="{44DF5F70-D18F-4E75-BC60-FBF73DE6C69B}"/>
              </a:ext>
            </a:extLst>
          </p:cNvPr>
          <p:cNvSpPr txBox="1"/>
          <p:nvPr/>
        </p:nvSpPr>
        <p:spPr>
          <a:xfrm>
            <a:off x="5636877" y="3058040"/>
            <a:ext cx="3507123" cy="1354217"/>
          </a:xfrm>
          <a:prstGeom prst="rect">
            <a:avLst/>
          </a:prstGeom>
          <a:noFill/>
        </p:spPr>
        <p:txBody>
          <a:bodyPr wrap="square" rtlCol="0">
            <a:spAutoFit/>
          </a:bodyPr>
          <a:lstStyle/>
          <a:p>
            <a:r>
              <a:rPr lang="en-CA" sz="1200" dirty="0">
                <a:solidFill>
                  <a:schemeClr val="lt1"/>
                </a:solidFill>
                <a:latin typeface="Abel" panose="020B0604020202020204" charset="0"/>
                <a:ea typeface="Encode Sans Semi Condensed"/>
                <a:cs typeface="Encode Sans Semi Condensed"/>
                <a:sym typeface="Encode Sans Semi Condensed"/>
              </a:rPr>
              <a:t>Findings of Repeated Review using Excel</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Covid 19 cases data from Government websites was reliable</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Instead of using daily new cases, moving Averages was used to remove anomalie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To further smoothen city cases data Moving averages per 100K population was considered</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15 days moving averages for temperature and humidity was taken considering new cases incubation period is 15 days</a:t>
            </a:r>
          </a:p>
        </p:txBody>
      </p:sp>
      <p:pic>
        <p:nvPicPr>
          <p:cNvPr id="36" name="File_Excel3" descr="{&quot;Key&quot;:&quot;POWER_USER_SHAPE_ICON&quot;,&quot;Value&quot;:&quot;POWER_USER_SHAPE_ICON_STYLE_1&quot;}">
            <a:extLst>
              <a:ext uri="{FF2B5EF4-FFF2-40B4-BE49-F238E27FC236}">
                <a16:creationId xmlns:a16="http://schemas.microsoft.com/office/drawing/2014/main" id="{4FB737DC-E273-41C9-BBF6-81ABDEC9B0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22797" y="2064709"/>
            <a:ext cx="777402" cy="777402"/>
          </a:xfrm>
          <a:prstGeom prst="rect">
            <a:avLst/>
          </a:prstGeom>
          <a:noFill/>
          <a:extLst>
            <a:ext uri="{909E8E84-426E-40DD-AFC4-6F175D3DCCD1}">
              <a14:hiddenFill xmlns:a14="http://schemas.microsoft.com/office/drawing/2010/main">
                <a:solidFill>
                  <a:srgbClr val="FFFFFF"/>
                </a:solidFill>
              </a14:hiddenFill>
            </a:ext>
          </a:extLst>
        </p:spPr>
      </p:pic>
      <p:sp>
        <p:nvSpPr>
          <p:cNvPr id="37" name="Crossroads" descr="{&quot;Key&quot;:&quot;POWER_USER_SHAPE_ICON&quot;,&quot;Value&quot;:&quot;POWER_USER_SHAPE_ICON_STYLE_1&quot;}">
            <a:extLst>
              <a:ext uri="{FF2B5EF4-FFF2-40B4-BE49-F238E27FC236}">
                <a16:creationId xmlns:a16="http://schemas.microsoft.com/office/drawing/2014/main" id="{821D169E-78C7-4977-A8A8-C08A8559B7E0}"/>
              </a:ext>
            </a:extLst>
          </p:cNvPr>
          <p:cNvSpPr>
            <a:spLocks noChangeAspect="1"/>
          </p:cNvSpPr>
          <p:nvPr>
            <p:custDataLst>
              <p:tags r:id="rId3"/>
            </p:custDataLst>
          </p:nvPr>
        </p:nvSpPr>
        <p:spPr bwMode="auto">
          <a:xfrm>
            <a:off x="3574947" y="1466341"/>
            <a:ext cx="1717872" cy="187008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A700814-D17A-47D4-B2A6-BA74AC721467}"/>
              </a:ext>
            </a:extLst>
          </p:cNvPr>
          <p:cNvSpPr txBox="1"/>
          <p:nvPr/>
        </p:nvSpPr>
        <p:spPr>
          <a:xfrm>
            <a:off x="3760018" y="1691314"/>
            <a:ext cx="943304" cy="307777"/>
          </a:xfrm>
          <a:prstGeom prst="rect">
            <a:avLst/>
          </a:prstGeom>
          <a:noFill/>
        </p:spPr>
        <p:txBody>
          <a:bodyPr wrap="square" rtlCol="0">
            <a:spAutoFit/>
          </a:bodyPr>
          <a:lstStyle/>
          <a:p>
            <a:r>
              <a:rPr lang="en-CA" dirty="0">
                <a:solidFill>
                  <a:schemeClr val="tx1"/>
                </a:solidFill>
              </a:rPr>
              <a:t>Round 1</a:t>
            </a:r>
          </a:p>
        </p:txBody>
      </p:sp>
      <p:sp>
        <p:nvSpPr>
          <p:cNvPr id="38" name="TextBox 37">
            <a:extLst>
              <a:ext uri="{FF2B5EF4-FFF2-40B4-BE49-F238E27FC236}">
                <a16:creationId xmlns:a16="http://schemas.microsoft.com/office/drawing/2014/main" id="{E0C52AF0-C762-45C8-ABCA-18B65F972C9B}"/>
              </a:ext>
            </a:extLst>
          </p:cNvPr>
          <p:cNvSpPr txBox="1"/>
          <p:nvPr/>
        </p:nvSpPr>
        <p:spPr>
          <a:xfrm>
            <a:off x="4276047" y="2247495"/>
            <a:ext cx="943304" cy="307777"/>
          </a:xfrm>
          <a:prstGeom prst="rect">
            <a:avLst/>
          </a:prstGeom>
          <a:noFill/>
        </p:spPr>
        <p:txBody>
          <a:bodyPr wrap="square" rtlCol="0">
            <a:spAutoFit/>
          </a:bodyPr>
          <a:lstStyle/>
          <a:p>
            <a:r>
              <a:rPr lang="en-CA" dirty="0">
                <a:solidFill>
                  <a:schemeClr val="tx1"/>
                </a:solidFill>
              </a:rPr>
              <a:t>Round 2</a:t>
            </a:r>
          </a:p>
        </p:txBody>
      </p:sp>
    </p:spTree>
    <p:extLst>
      <p:ext uri="{BB962C8B-B14F-4D97-AF65-F5344CB8AC3E}">
        <p14:creationId xmlns:p14="http://schemas.microsoft.com/office/powerpoint/2010/main" val="39428506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Data Analysis- Compare New Cases</a:t>
            </a:r>
          </a:p>
        </p:txBody>
      </p:sp>
      <p:sp>
        <p:nvSpPr>
          <p:cNvPr id="19" name="TextBox 18">
            <a:extLst>
              <a:ext uri="{FF2B5EF4-FFF2-40B4-BE49-F238E27FC236}">
                <a16:creationId xmlns:a16="http://schemas.microsoft.com/office/drawing/2014/main" id="{DEB8E808-AF29-4624-B380-E7E27A7716EF}"/>
              </a:ext>
            </a:extLst>
          </p:cNvPr>
          <p:cNvSpPr txBox="1"/>
          <p:nvPr/>
        </p:nvSpPr>
        <p:spPr>
          <a:xfrm>
            <a:off x="2406616" y="725037"/>
            <a:ext cx="3766067" cy="523220"/>
          </a:xfrm>
          <a:prstGeom prst="rect">
            <a:avLst/>
          </a:prstGeom>
          <a:noFill/>
        </p:spPr>
        <p:txBody>
          <a:bodyPr wrap="square" rtlCol="0">
            <a:spAutoFit/>
          </a:bodyPr>
          <a:lstStyle/>
          <a:p>
            <a:r>
              <a:rPr lang="en-US" b="1" dirty="0">
                <a:solidFill>
                  <a:schemeClr val="bg1"/>
                </a:solidFill>
                <a:latin typeface="Abel" panose="020B0604020202020204" charset="0"/>
                <a:cs typeface="Arial" panose="020B0604020202020204" pitchFamily="34" charset="0"/>
              </a:rPr>
              <a:t>No. of cases per 100K population (7 days average)</a:t>
            </a:r>
          </a:p>
          <a:p>
            <a:endParaRPr lang="en-CA" b="1" dirty="0">
              <a:solidFill>
                <a:schemeClr val="bg1"/>
              </a:solidFill>
            </a:endParaRPr>
          </a:p>
        </p:txBody>
      </p:sp>
      <p:grpSp>
        <p:nvGrpSpPr>
          <p:cNvPr id="39" name="Group 38">
            <a:extLst>
              <a:ext uri="{FF2B5EF4-FFF2-40B4-BE49-F238E27FC236}">
                <a16:creationId xmlns:a16="http://schemas.microsoft.com/office/drawing/2014/main" id="{24A56EA4-16B6-444F-BCF7-BA9079BA783E}"/>
              </a:ext>
            </a:extLst>
          </p:cNvPr>
          <p:cNvGrpSpPr/>
          <p:nvPr/>
        </p:nvGrpSpPr>
        <p:grpSpPr>
          <a:xfrm>
            <a:off x="1566156" y="1089923"/>
            <a:ext cx="5549922" cy="2899445"/>
            <a:chOff x="0" y="1095300"/>
            <a:chExt cx="6657424" cy="3892775"/>
          </a:xfrm>
        </p:grpSpPr>
        <p:pic>
          <p:nvPicPr>
            <p:cNvPr id="40" name="Google Shape;91;p19">
              <a:extLst>
                <a:ext uri="{FF2B5EF4-FFF2-40B4-BE49-F238E27FC236}">
                  <a16:creationId xmlns:a16="http://schemas.microsoft.com/office/drawing/2014/main" id="{9F0AF654-2462-46BB-8FAE-AFA00D527EE1}"/>
                </a:ext>
              </a:extLst>
            </p:cNvPr>
            <p:cNvPicPr preferRelativeResize="0"/>
            <p:nvPr/>
          </p:nvPicPr>
          <p:blipFill>
            <a:blip r:embed="rId3">
              <a:alphaModFix/>
            </a:blip>
            <a:stretch>
              <a:fillRect/>
            </a:stretch>
          </p:blipFill>
          <p:spPr>
            <a:xfrm>
              <a:off x="0" y="1095300"/>
              <a:ext cx="6657424" cy="3892775"/>
            </a:xfrm>
            <a:prstGeom prst="rect">
              <a:avLst/>
            </a:prstGeom>
            <a:noFill/>
            <a:ln>
              <a:noFill/>
            </a:ln>
          </p:spPr>
        </p:pic>
        <p:sp>
          <p:nvSpPr>
            <p:cNvPr id="41" name="Google Shape;93;p19">
              <a:extLst>
                <a:ext uri="{FF2B5EF4-FFF2-40B4-BE49-F238E27FC236}">
                  <a16:creationId xmlns:a16="http://schemas.microsoft.com/office/drawing/2014/main" id="{9E8C3E42-6658-4435-B9DC-D378647DD1C3}"/>
                </a:ext>
              </a:extLst>
            </p:cNvPr>
            <p:cNvSpPr/>
            <p:nvPr/>
          </p:nvSpPr>
          <p:spPr>
            <a:xfrm>
              <a:off x="1324725" y="2064800"/>
              <a:ext cx="2331300" cy="25458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2100"/>
                <a:t>A</a:t>
              </a:r>
              <a:endParaRPr sz="2100"/>
            </a:p>
          </p:txBody>
        </p:sp>
        <p:sp>
          <p:nvSpPr>
            <p:cNvPr id="42" name="Google Shape;94;p19">
              <a:extLst>
                <a:ext uri="{FF2B5EF4-FFF2-40B4-BE49-F238E27FC236}">
                  <a16:creationId xmlns:a16="http://schemas.microsoft.com/office/drawing/2014/main" id="{718B5ACF-DBBD-41B1-8E05-63A31C5FD6DE}"/>
                </a:ext>
              </a:extLst>
            </p:cNvPr>
            <p:cNvSpPr/>
            <p:nvPr/>
          </p:nvSpPr>
          <p:spPr>
            <a:xfrm>
              <a:off x="4692050" y="1780100"/>
              <a:ext cx="1359900" cy="18177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 B</a:t>
              </a:r>
              <a:endParaRPr sz="1800"/>
            </a:p>
          </p:txBody>
        </p:sp>
        <p:sp>
          <p:nvSpPr>
            <p:cNvPr id="43" name="Google Shape;95;p19">
              <a:extLst>
                <a:ext uri="{FF2B5EF4-FFF2-40B4-BE49-F238E27FC236}">
                  <a16:creationId xmlns:a16="http://schemas.microsoft.com/office/drawing/2014/main" id="{A382AC22-753C-420A-A647-C8DCBB6BC866}"/>
                </a:ext>
              </a:extLst>
            </p:cNvPr>
            <p:cNvSpPr/>
            <p:nvPr/>
          </p:nvSpPr>
          <p:spPr>
            <a:xfrm>
              <a:off x="3656025" y="2352675"/>
              <a:ext cx="1095300" cy="18177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 C</a:t>
              </a:r>
              <a:endParaRPr sz="1800"/>
            </a:p>
          </p:txBody>
        </p:sp>
      </p:grpSp>
      <p:sp>
        <p:nvSpPr>
          <p:cNvPr id="44" name="Google Shape;92;p19">
            <a:extLst>
              <a:ext uri="{FF2B5EF4-FFF2-40B4-BE49-F238E27FC236}">
                <a16:creationId xmlns:a16="http://schemas.microsoft.com/office/drawing/2014/main" id="{EFB1EBB1-7B1B-4058-896D-AA32B1E80E28}"/>
              </a:ext>
            </a:extLst>
          </p:cNvPr>
          <p:cNvSpPr txBox="1"/>
          <p:nvPr/>
        </p:nvSpPr>
        <p:spPr>
          <a:xfrm>
            <a:off x="-107853" y="2169599"/>
            <a:ext cx="1694099" cy="2031295"/>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The period between May 2020 to Nov 2020, we can see that the weather is a variable that can directly impact the number of confirmed Covid Cases, especifically Cold weather.</a:t>
            </a:r>
            <a:endParaRPr sz="1200" dirty="0">
              <a:solidFill>
                <a:schemeClr val="bg1"/>
              </a:solidFill>
              <a:latin typeface="Abel" panose="020B0604020202020204" charset="0"/>
            </a:endParaRPr>
          </a:p>
          <a:p>
            <a:pPr marL="457200" lvl="0" indent="0" rtl="0">
              <a:spcBef>
                <a:spcPts val="0"/>
              </a:spcBef>
              <a:spcAft>
                <a:spcPts val="0"/>
              </a:spcAft>
              <a:buNone/>
            </a:pPr>
            <a:r>
              <a:rPr lang="en" sz="1200" dirty="0">
                <a:solidFill>
                  <a:schemeClr val="bg1"/>
                </a:solidFill>
                <a:latin typeface="Abel" panose="020B0604020202020204" charset="0"/>
              </a:rPr>
              <a:t> </a:t>
            </a:r>
            <a:endParaRPr sz="1200" dirty="0">
              <a:solidFill>
                <a:schemeClr val="bg1"/>
              </a:solidFill>
              <a:latin typeface="Abel" panose="020B0604020202020204" charset="0"/>
            </a:endParaRPr>
          </a:p>
        </p:txBody>
      </p:sp>
      <p:sp>
        <p:nvSpPr>
          <p:cNvPr id="45" name="Google Shape;92;p19">
            <a:extLst>
              <a:ext uri="{FF2B5EF4-FFF2-40B4-BE49-F238E27FC236}">
                <a16:creationId xmlns:a16="http://schemas.microsoft.com/office/drawing/2014/main" id="{591C5724-228E-442A-813D-A8D88EA6DDF6}"/>
              </a:ext>
            </a:extLst>
          </p:cNvPr>
          <p:cNvSpPr txBox="1"/>
          <p:nvPr/>
        </p:nvSpPr>
        <p:spPr>
          <a:xfrm>
            <a:off x="1749624" y="3814495"/>
            <a:ext cx="2822376" cy="1477297"/>
          </a:xfrm>
          <a:prstGeom prst="rect">
            <a:avLst/>
          </a:prstGeom>
          <a:noFill/>
          <a:ln>
            <a:noFill/>
          </a:ln>
        </p:spPr>
        <p:txBody>
          <a:bodyPr spcFirstLastPara="1" wrap="square" lIns="91425" tIns="91425" rIns="91425" bIns="91425" anchor="t" anchorCtr="0">
            <a:spAutoFit/>
          </a:bodyPr>
          <a:lstStyle/>
          <a:p>
            <a:pPr marL="457200" lvl="0" indent="0" algn="just" rtl="0">
              <a:spcBef>
                <a:spcPts val="0"/>
              </a:spcBef>
              <a:spcAft>
                <a:spcPts val="0"/>
              </a:spcAft>
              <a:buNone/>
            </a:pPr>
            <a:endParaRPr sz="1200" dirty="0">
              <a:latin typeface="Abel" panose="020B0604020202020204" charset="0"/>
            </a:endParaRPr>
          </a:p>
          <a:p>
            <a:pPr marL="158750" lvl="0" algn="just" rtl="0">
              <a:spcBef>
                <a:spcPts val="0"/>
              </a:spcBef>
              <a:spcAft>
                <a:spcPts val="0"/>
              </a:spcAft>
              <a:buSzPts val="1100"/>
            </a:pPr>
            <a:r>
              <a:rPr lang="en" sz="1200" dirty="0">
                <a:solidFill>
                  <a:schemeClr val="bg1"/>
                </a:solidFill>
                <a:latin typeface="Abel" panose="020B0604020202020204" charset="0"/>
              </a:rPr>
              <a:t>Zone A: </a:t>
            </a:r>
          </a:p>
          <a:p>
            <a:pPr marL="158750" lvl="0" algn="just" rtl="0">
              <a:spcBef>
                <a:spcPts val="0"/>
              </a:spcBef>
              <a:spcAft>
                <a:spcPts val="0"/>
              </a:spcAft>
              <a:buSzPts val="1100"/>
            </a:pPr>
            <a:r>
              <a:rPr lang="en" sz="1200" dirty="0">
                <a:solidFill>
                  <a:schemeClr val="bg1"/>
                </a:solidFill>
                <a:latin typeface="Abel" panose="020B0604020202020204" charset="0"/>
              </a:rPr>
              <a:t>As New York was going through a hotter weather, Sao Paulo was going through winter and an increase on the number of cases.</a:t>
            </a:r>
            <a:endParaRPr sz="1200" dirty="0">
              <a:solidFill>
                <a:schemeClr val="bg1"/>
              </a:solidFill>
              <a:latin typeface="Abel" panose="020B0604020202020204" charset="0"/>
            </a:endParaRPr>
          </a:p>
          <a:p>
            <a:pPr marL="0" lvl="0" indent="0" algn="just" rtl="0">
              <a:spcBef>
                <a:spcPts val="0"/>
              </a:spcBef>
              <a:spcAft>
                <a:spcPts val="0"/>
              </a:spcAft>
              <a:buNone/>
            </a:pPr>
            <a:endParaRPr sz="1200" dirty="0">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5864424" y="3989368"/>
            <a:ext cx="2822376" cy="1107965"/>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Zone C: </a:t>
            </a:r>
          </a:p>
          <a:p>
            <a:pPr marL="158750" lvl="0" rtl="0">
              <a:spcBef>
                <a:spcPts val="0"/>
              </a:spcBef>
              <a:spcAft>
                <a:spcPts val="0"/>
              </a:spcAft>
              <a:buSzPts val="1100"/>
            </a:pPr>
            <a:r>
              <a:rPr lang="en" sz="1200" dirty="0">
                <a:solidFill>
                  <a:schemeClr val="bg1"/>
                </a:solidFill>
                <a:latin typeface="Abel" panose="020B0604020202020204" charset="0"/>
              </a:rPr>
              <a:t>In this zone occurs a season transition for both cities; The temperatures are slightly similar. Therefore, the number of cases also follow  the same tendency. </a:t>
            </a:r>
            <a:endParaRPr sz="1200" dirty="0">
              <a:solidFill>
                <a:schemeClr val="bg1"/>
              </a:solidFill>
              <a:latin typeface="Abel" panose="020B0604020202020204" charset="0"/>
            </a:endParaRPr>
          </a:p>
        </p:txBody>
      </p:sp>
      <p:sp>
        <p:nvSpPr>
          <p:cNvPr id="47" name="Google Shape;92;p19">
            <a:extLst>
              <a:ext uri="{FF2B5EF4-FFF2-40B4-BE49-F238E27FC236}">
                <a16:creationId xmlns:a16="http://schemas.microsoft.com/office/drawing/2014/main" id="{3C8294EE-3285-407F-B347-34A43372E9FA}"/>
              </a:ext>
            </a:extLst>
          </p:cNvPr>
          <p:cNvSpPr txBox="1"/>
          <p:nvPr/>
        </p:nvSpPr>
        <p:spPr>
          <a:xfrm>
            <a:off x="6920346" y="1247795"/>
            <a:ext cx="2223654" cy="1661963"/>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Zone B :</a:t>
            </a:r>
          </a:p>
          <a:p>
            <a:pPr marL="158750" lvl="0" rtl="0">
              <a:spcBef>
                <a:spcPts val="0"/>
              </a:spcBef>
              <a:spcAft>
                <a:spcPts val="0"/>
              </a:spcAft>
              <a:buSzPts val="1100"/>
            </a:pPr>
            <a:r>
              <a:rPr lang="en" sz="1200" dirty="0">
                <a:solidFill>
                  <a:schemeClr val="bg1"/>
                </a:solidFill>
                <a:latin typeface="Abel" panose="020B0604020202020204" charset="0"/>
              </a:rPr>
              <a:t>doesn't follow the same trend as Zone A, possibly as result of the vaccination rate in both cities. NYC higher vaccination rate than Sao Paulo in the same period. </a:t>
            </a:r>
            <a:endParaRPr sz="1200" dirty="0">
              <a:solidFill>
                <a:schemeClr val="bg1"/>
              </a:solidFill>
              <a:latin typeface="Abel" panose="020B0604020202020204" charset="0"/>
            </a:endParaRPr>
          </a:p>
          <a:p>
            <a:pPr marL="457200" lvl="0" indent="0" rtl="0">
              <a:spcBef>
                <a:spcPts val="0"/>
              </a:spcBef>
              <a:spcAft>
                <a:spcPts val="0"/>
              </a:spcAft>
              <a:buNone/>
            </a:pPr>
            <a:endParaRPr sz="1200" dirty="0">
              <a:solidFill>
                <a:schemeClr val="bg1"/>
              </a:solidFill>
              <a:latin typeface="Abel" panose="020B0604020202020204" charset="0"/>
            </a:endParaRPr>
          </a:p>
        </p:txBody>
      </p:sp>
      <p:cxnSp>
        <p:nvCxnSpPr>
          <p:cNvPr id="5" name="Straight Arrow Connector 4">
            <a:extLst>
              <a:ext uri="{FF2B5EF4-FFF2-40B4-BE49-F238E27FC236}">
                <a16:creationId xmlns:a16="http://schemas.microsoft.com/office/drawing/2014/main" id="{03C65D85-8A32-4A7A-BE6F-D1D4ACF10D07}"/>
              </a:ext>
            </a:extLst>
          </p:cNvPr>
          <p:cNvCxnSpPr>
            <a:cxnSpLocks/>
          </p:cNvCxnSpPr>
          <p:nvPr/>
        </p:nvCxnSpPr>
        <p:spPr>
          <a:xfrm flipV="1">
            <a:off x="6274733" y="1599981"/>
            <a:ext cx="841345" cy="569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941374B-28FD-4B92-9F93-404C65C004AC}"/>
              </a:ext>
            </a:extLst>
          </p:cNvPr>
          <p:cNvCxnSpPr>
            <a:cxnSpLocks/>
          </p:cNvCxnSpPr>
          <p:nvPr/>
        </p:nvCxnSpPr>
        <p:spPr>
          <a:xfrm>
            <a:off x="5207267" y="3079484"/>
            <a:ext cx="837225" cy="1142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39558681-DCDD-4229-886C-1A9253A1EC28}"/>
              </a:ext>
            </a:extLst>
          </p:cNvPr>
          <p:cNvCxnSpPr>
            <a:cxnSpLocks/>
          </p:cNvCxnSpPr>
          <p:nvPr/>
        </p:nvCxnSpPr>
        <p:spPr>
          <a:xfrm flipH="1">
            <a:off x="2757056" y="3006436"/>
            <a:ext cx="772342" cy="11944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4853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Data Analysis- Compare Weather</a:t>
            </a:r>
          </a:p>
        </p:txBody>
      </p:sp>
      <p:sp>
        <p:nvSpPr>
          <p:cNvPr id="19" name="TextBox 18">
            <a:extLst>
              <a:ext uri="{FF2B5EF4-FFF2-40B4-BE49-F238E27FC236}">
                <a16:creationId xmlns:a16="http://schemas.microsoft.com/office/drawing/2014/main" id="{DEB8E808-AF29-4624-B380-E7E27A7716EF}"/>
              </a:ext>
            </a:extLst>
          </p:cNvPr>
          <p:cNvSpPr txBox="1"/>
          <p:nvPr/>
        </p:nvSpPr>
        <p:spPr>
          <a:xfrm>
            <a:off x="124835" y="868804"/>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Both cities temperature: 15 days average</a:t>
            </a:r>
          </a:p>
        </p:txBody>
      </p:sp>
      <p:sp>
        <p:nvSpPr>
          <p:cNvPr id="44" name="Google Shape;92;p19">
            <a:extLst>
              <a:ext uri="{FF2B5EF4-FFF2-40B4-BE49-F238E27FC236}">
                <a16:creationId xmlns:a16="http://schemas.microsoft.com/office/drawing/2014/main" id="{EFB1EBB1-7B1B-4058-896D-AA32B1E80E28}"/>
              </a:ext>
            </a:extLst>
          </p:cNvPr>
          <p:cNvSpPr txBox="1"/>
          <p:nvPr/>
        </p:nvSpPr>
        <p:spPr>
          <a:xfrm>
            <a:off x="0" y="3554088"/>
            <a:ext cx="4142365" cy="1477297"/>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US" dirty="0">
                <a:solidFill>
                  <a:schemeClr val="bg1"/>
                </a:solidFill>
                <a:latin typeface="Abel" panose="020B0604020202020204" charset="0"/>
              </a:rPr>
              <a:t>NY curve shows that there is a relation between weather and no. cases. Although, for Sao Paulo the 15 days temp avg is slightly linear. The reason of this discrepancy is possibly due to external factors as vaccination rate, lockdown restrictions, etc. </a:t>
            </a:r>
          </a:p>
          <a:p>
            <a:pPr marL="457200" lvl="0" indent="0" rtl="0">
              <a:spcBef>
                <a:spcPts val="0"/>
              </a:spcBef>
              <a:spcAft>
                <a:spcPts val="0"/>
              </a:spcAft>
              <a:buNone/>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4742206" y="3554088"/>
            <a:ext cx="4401794" cy="1046410"/>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US" dirty="0">
                <a:solidFill>
                  <a:schemeClr val="bg1"/>
                </a:solidFill>
                <a:latin typeface="Abel" panose="020B0604020202020204" charset="0"/>
              </a:rPr>
              <a:t>Considering the period selected on Zone A, we can see that humidity is quite similar in both cities, Therefore, this parameter does not impact the number of confirmed cases.</a:t>
            </a:r>
          </a:p>
          <a:p>
            <a:pPr marL="158750" lvl="0" rtl="0">
              <a:spcBef>
                <a:spcPts val="0"/>
              </a:spcBef>
              <a:spcAft>
                <a:spcPts val="0"/>
              </a:spcAft>
              <a:buSzPts val="1100"/>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pic>
        <p:nvPicPr>
          <p:cNvPr id="17" name="Google Shape;104;p20">
            <a:extLst>
              <a:ext uri="{FF2B5EF4-FFF2-40B4-BE49-F238E27FC236}">
                <a16:creationId xmlns:a16="http://schemas.microsoft.com/office/drawing/2014/main" id="{7252CDB1-5937-4441-8A1B-BC59D1E4DB1D}"/>
              </a:ext>
            </a:extLst>
          </p:cNvPr>
          <p:cNvPicPr preferRelativeResize="0"/>
          <p:nvPr/>
        </p:nvPicPr>
        <p:blipFill rotWithShape="1">
          <a:blip r:embed="rId3">
            <a:alphaModFix/>
          </a:blip>
          <a:srcRect t="4085"/>
          <a:stretch/>
        </p:blipFill>
        <p:spPr>
          <a:xfrm>
            <a:off x="250292" y="1358568"/>
            <a:ext cx="3836654" cy="2013532"/>
          </a:xfrm>
          <a:prstGeom prst="rect">
            <a:avLst/>
          </a:prstGeom>
          <a:noFill/>
          <a:ln>
            <a:noFill/>
          </a:ln>
        </p:spPr>
      </p:pic>
      <p:pic>
        <p:nvPicPr>
          <p:cNvPr id="18" name="Google Shape;105;p20">
            <a:extLst>
              <a:ext uri="{FF2B5EF4-FFF2-40B4-BE49-F238E27FC236}">
                <a16:creationId xmlns:a16="http://schemas.microsoft.com/office/drawing/2014/main" id="{216A7F79-3B1E-45FA-B5F6-D50FA1A1C8D5}"/>
              </a:ext>
            </a:extLst>
          </p:cNvPr>
          <p:cNvPicPr preferRelativeResize="0"/>
          <p:nvPr/>
        </p:nvPicPr>
        <p:blipFill rotWithShape="1">
          <a:blip r:embed="rId4">
            <a:alphaModFix/>
          </a:blip>
          <a:srcRect t="3016"/>
          <a:stretch/>
        </p:blipFill>
        <p:spPr>
          <a:xfrm>
            <a:off x="4869515" y="1339268"/>
            <a:ext cx="4149649" cy="2013532"/>
          </a:xfrm>
          <a:prstGeom prst="rect">
            <a:avLst/>
          </a:prstGeom>
          <a:noFill/>
          <a:ln>
            <a:noFill/>
          </a:ln>
        </p:spPr>
      </p:pic>
      <p:sp>
        <p:nvSpPr>
          <p:cNvPr id="20" name="Google Shape;110;p20">
            <a:extLst>
              <a:ext uri="{FF2B5EF4-FFF2-40B4-BE49-F238E27FC236}">
                <a16:creationId xmlns:a16="http://schemas.microsoft.com/office/drawing/2014/main" id="{B7170352-1834-45B6-B548-85AB7214D5C3}"/>
              </a:ext>
            </a:extLst>
          </p:cNvPr>
          <p:cNvSpPr/>
          <p:nvPr/>
        </p:nvSpPr>
        <p:spPr>
          <a:xfrm>
            <a:off x="5756565" y="1339268"/>
            <a:ext cx="1732332" cy="1783235"/>
          </a:xfrm>
          <a:prstGeom prst="ellipse">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A</a:t>
            </a:r>
            <a:endParaRPr sz="2400"/>
          </a:p>
        </p:txBody>
      </p:sp>
      <p:sp>
        <p:nvSpPr>
          <p:cNvPr id="21" name="TextBox 20">
            <a:extLst>
              <a:ext uri="{FF2B5EF4-FFF2-40B4-BE49-F238E27FC236}">
                <a16:creationId xmlns:a16="http://schemas.microsoft.com/office/drawing/2014/main" id="{E8073783-04E7-4026-884D-D3196DDB7674}"/>
              </a:ext>
            </a:extLst>
          </p:cNvPr>
          <p:cNvSpPr txBox="1"/>
          <p:nvPr/>
        </p:nvSpPr>
        <p:spPr>
          <a:xfrm>
            <a:off x="4742206" y="850917"/>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Both cities humidity: 15 days average</a:t>
            </a:r>
          </a:p>
        </p:txBody>
      </p:sp>
    </p:spTree>
    <p:extLst>
      <p:ext uri="{BB962C8B-B14F-4D97-AF65-F5344CB8AC3E}">
        <p14:creationId xmlns:p14="http://schemas.microsoft.com/office/powerpoint/2010/main" val="1748600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Methodology</a:t>
            </a:r>
          </a:p>
        </p:txBody>
      </p:sp>
      <p:sp>
        <p:nvSpPr>
          <p:cNvPr id="44" name="Google Shape;92;p19">
            <a:extLst>
              <a:ext uri="{FF2B5EF4-FFF2-40B4-BE49-F238E27FC236}">
                <a16:creationId xmlns:a16="http://schemas.microsoft.com/office/drawing/2014/main" id="{EFB1EBB1-7B1B-4058-896D-AA32B1E80E28}"/>
              </a:ext>
            </a:extLst>
          </p:cNvPr>
          <p:cNvSpPr txBox="1"/>
          <p:nvPr/>
        </p:nvSpPr>
        <p:spPr>
          <a:xfrm>
            <a:off x="-72519" y="2437133"/>
            <a:ext cx="3106666" cy="2769959"/>
          </a:xfrm>
          <a:prstGeom prst="rect">
            <a:avLst/>
          </a:prstGeom>
          <a:noFill/>
          <a:ln>
            <a:noFill/>
          </a:ln>
        </p:spPr>
        <p:txBody>
          <a:bodyPr spcFirstLastPara="1" wrap="square" lIns="91425" tIns="91425" rIns="91425" bIns="91425" anchor="t" anchorCtr="0">
            <a:spAutoFit/>
          </a:bodyPr>
          <a:lstStyle/>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15 days average temperature and humidity up to the day before as this is usually the virus incubation period</a:t>
            </a:r>
          </a:p>
          <a:p>
            <a:pPr marL="444500" lvl="0" indent="-285750" rtl="0">
              <a:spcBef>
                <a:spcPts val="0"/>
              </a:spcBef>
              <a:spcAft>
                <a:spcPts val="0"/>
              </a:spcAft>
              <a:buClr>
                <a:schemeClr val="bg1"/>
              </a:buClr>
              <a:buSzPct val="83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New cases per 100K to compare same size of population</a:t>
            </a:r>
          </a:p>
          <a:p>
            <a:pPr marL="444500" lvl="0" indent="-285750" rtl="0">
              <a:spcBef>
                <a:spcPts val="0"/>
              </a:spcBef>
              <a:spcAft>
                <a:spcPts val="0"/>
              </a:spcAft>
              <a:buClr>
                <a:schemeClr val="bg1"/>
              </a:buClr>
              <a:buSzPct val="83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Moving 7 days average of new cases per 100K to smooth out any reporting anomalies </a:t>
            </a:r>
          </a:p>
          <a:p>
            <a:pPr marL="457200" lvl="0" indent="0" rtl="0">
              <a:spcBef>
                <a:spcPts val="0"/>
              </a:spcBef>
              <a:spcAft>
                <a:spcPts val="0"/>
              </a:spcAft>
              <a:buNone/>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5548671" y="843398"/>
            <a:ext cx="3595329" cy="4493508"/>
          </a:xfrm>
          <a:prstGeom prst="rect">
            <a:avLst/>
          </a:prstGeom>
          <a:noFill/>
          <a:ln>
            <a:noFill/>
          </a:ln>
        </p:spPr>
        <p:txBody>
          <a:bodyPr spcFirstLastPara="1" wrap="square" lIns="91425" tIns="91425" rIns="91425" bIns="91425" anchor="t" anchorCtr="0">
            <a:spAutoFit/>
          </a:bodyPr>
          <a:lstStyle/>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ran correlations to validate the strength of the relationship between the variables.</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ran multiple regressions using three cuts of data one for each city and one combined. For the combined, we added “</a:t>
            </a:r>
            <a:r>
              <a:rPr lang="en-US" dirty="0" err="1">
                <a:solidFill>
                  <a:schemeClr val="bg1"/>
                </a:solidFill>
                <a:latin typeface="Abel" panose="020B0604020202020204" charset="0"/>
              </a:rPr>
              <a:t>is_New</a:t>
            </a:r>
            <a:r>
              <a:rPr lang="en-US" dirty="0">
                <a:solidFill>
                  <a:schemeClr val="bg1"/>
                </a:solidFill>
                <a:latin typeface="Abel" panose="020B0604020202020204" charset="0"/>
              </a:rPr>
              <a:t> York flag” (1= NY, 0=SP)</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Selected date range is from Feb 29,2020 to May 16,2021</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1" indent="-285750">
              <a:buClr>
                <a:schemeClr val="bg1"/>
              </a:buClr>
              <a:buSzPct val="85000"/>
              <a:buFont typeface="Arial" panose="020B0604020202020204" pitchFamily="34" charset="0"/>
              <a:buChar char="•"/>
            </a:pPr>
            <a:r>
              <a:rPr lang="en-US" dirty="0">
                <a:solidFill>
                  <a:schemeClr val="bg1"/>
                </a:solidFill>
                <a:latin typeface="Abel" panose="020B0604020202020204" charset="0"/>
              </a:rPr>
              <a:t>Compared Regressions with train and test vs no test.</a:t>
            </a:r>
          </a:p>
          <a:p>
            <a:pPr marL="444500" lvl="1" indent="-285750">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5" indent="-285750">
              <a:buClr>
                <a:schemeClr val="bg1"/>
              </a:buClr>
              <a:buSzPct val="85000"/>
              <a:buFont typeface="Arial" panose="020B0604020202020204" pitchFamily="34" charset="0"/>
              <a:buChar char="•"/>
            </a:pPr>
            <a:r>
              <a:rPr lang="en-US" dirty="0">
                <a:solidFill>
                  <a:schemeClr val="bg1"/>
                </a:solidFill>
                <a:latin typeface="Abel" panose="020B0604020202020204" charset="0"/>
              </a:rPr>
              <a:t>Trained using Feb 29,2020 to Apr 15,2021 for training </a:t>
            </a:r>
          </a:p>
          <a:p>
            <a:pPr marL="444500" lvl="5" indent="-285750">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5" indent="-285750">
              <a:buClr>
                <a:schemeClr val="bg1"/>
              </a:buClr>
              <a:buSzPct val="85000"/>
              <a:buFont typeface="Arial" panose="020B0604020202020204" pitchFamily="34" charset="0"/>
              <a:buChar char="•"/>
            </a:pPr>
            <a:r>
              <a:rPr lang="en-US" dirty="0">
                <a:solidFill>
                  <a:schemeClr val="bg1"/>
                </a:solidFill>
                <a:latin typeface="Abel" panose="020B0604020202020204" charset="0"/>
              </a:rPr>
              <a:t>Tested using data from Apr 16 to May 16 2021</a:t>
            </a:r>
          </a:p>
          <a:p>
            <a:pPr marL="158750" lvl="7">
              <a:buClr>
                <a:schemeClr val="bg1"/>
              </a:buClr>
              <a:buSzPct val="85000"/>
            </a:pPr>
            <a:endParaRPr lang="en-US" dirty="0">
              <a:solidFill>
                <a:schemeClr val="bg1"/>
              </a:solidFill>
              <a:latin typeface="Abel" panose="020B0604020202020204" charset="0"/>
            </a:endParaRPr>
          </a:p>
        </p:txBody>
      </p:sp>
      <p:graphicFrame>
        <p:nvGraphicFramePr>
          <p:cNvPr id="2" name="Diagram 1">
            <a:extLst>
              <a:ext uri="{FF2B5EF4-FFF2-40B4-BE49-F238E27FC236}">
                <a16:creationId xmlns:a16="http://schemas.microsoft.com/office/drawing/2014/main" id="{25A92F58-E6F4-470C-9303-1C54A627DF2C}"/>
              </a:ext>
            </a:extLst>
          </p:cNvPr>
          <p:cNvGraphicFramePr/>
          <p:nvPr>
            <p:extLst>
              <p:ext uri="{D42A27DB-BD31-4B8C-83A1-F6EECF244321}">
                <p14:modId xmlns:p14="http://schemas.microsoft.com/office/powerpoint/2010/main" val="2346253941"/>
              </p:ext>
            </p:extLst>
          </p:nvPr>
        </p:nvGraphicFramePr>
        <p:xfrm>
          <a:off x="2673854" y="1220249"/>
          <a:ext cx="3262818" cy="2008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69948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BB65C9F-22F6-412C-90AB-AC9787199D67}"/>
              </a:ext>
            </a:extLst>
          </p:cNvPr>
          <p:cNvPicPr>
            <a:picLocks noChangeAspect="1"/>
          </p:cNvPicPr>
          <p:nvPr/>
        </p:nvPicPr>
        <p:blipFill>
          <a:blip r:embed="rId3"/>
          <a:stretch>
            <a:fillRect/>
          </a:stretch>
        </p:blipFill>
        <p:spPr>
          <a:xfrm>
            <a:off x="124835" y="1226453"/>
            <a:ext cx="3570100" cy="3688446"/>
          </a:xfrm>
          <a:prstGeom prst="rect">
            <a:avLst/>
          </a:prstGeom>
        </p:spPr>
      </p:pic>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Correlation Analysis- Combined Data</a:t>
            </a:r>
          </a:p>
        </p:txBody>
      </p:sp>
      <p:grpSp>
        <p:nvGrpSpPr>
          <p:cNvPr id="6" name="Group 5">
            <a:extLst>
              <a:ext uri="{FF2B5EF4-FFF2-40B4-BE49-F238E27FC236}">
                <a16:creationId xmlns:a16="http://schemas.microsoft.com/office/drawing/2014/main" id="{F3377099-B671-4B18-AB5A-346FC1853880}"/>
              </a:ext>
            </a:extLst>
          </p:cNvPr>
          <p:cNvGrpSpPr/>
          <p:nvPr/>
        </p:nvGrpSpPr>
        <p:grpSpPr>
          <a:xfrm>
            <a:off x="977109" y="4749980"/>
            <a:ext cx="611837" cy="215444"/>
            <a:chOff x="3711391" y="1307581"/>
            <a:chExt cx="611837" cy="215444"/>
          </a:xfrm>
        </p:grpSpPr>
        <p:sp>
          <p:nvSpPr>
            <p:cNvPr id="4" name="Oval 3">
              <a:extLst>
                <a:ext uri="{FF2B5EF4-FFF2-40B4-BE49-F238E27FC236}">
                  <a16:creationId xmlns:a16="http://schemas.microsoft.com/office/drawing/2014/main" id="{FFDD455A-D5AC-4500-8E50-3B9022E27C7A}"/>
                </a:ext>
              </a:extLst>
            </p:cNvPr>
            <p:cNvSpPr/>
            <p:nvPr/>
          </p:nvSpPr>
          <p:spPr>
            <a:xfrm>
              <a:off x="3711391" y="1378324"/>
              <a:ext cx="80682" cy="73958"/>
            </a:xfrm>
            <a:prstGeom prst="ellipse">
              <a:avLst/>
            </a:prstGeom>
            <a:solidFill>
              <a:srgbClr val="DC84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5DBA75E7-73D8-4F68-9478-F90506D2EDB7}"/>
                </a:ext>
              </a:extLst>
            </p:cNvPr>
            <p:cNvSpPr txBox="1"/>
            <p:nvPr/>
          </p:nvSpPr>
          <p:spPr>
            <a:xfrm>
              <a:off x="3751729" y="1307581"/>
              <a:ext cx="571499" cy="215444"/>
            </a:xfrm>
            <a:prstGeom prst="rect">
              <a:avLst/>
            </a:prstGeom>
            <a:noFill/>
          </p:spPr>
          <p:txBody>
            <a:bodyPr wrap="square" rtlCol="0">
              <a:spAutoFit/>
            </a:bodyPr>
            <a:lstStyle/>
            <a:p>
              <a:r>
                <a:rPr lang="en-US" sz="800" b="1" dirty="0">
                  <a:solidFill>
                    <a:schemeClr val="tx1"/>
                  </a:solidFill>
                  <a:latin typeface="Abel" panose="020B0604020202020204" charset="0"/>
                </a:rPr>
                <a:t>New York</a:t>
              </a:r>
              <a:endParaRPr lang="en-CA" sz="800" b="1" dirty="0">
                <a:solidFill>
                  <a:schemeClr val="tx1"/>
                </a:solidFill>
                <a:latin typeface="Abel" panose="020B0604020202020204" charset="0"/>
              </a:endParaRPr>
            </a:p>
          </p:txBody>
        </p:sp>
      </p:grpSp>
      <p:grpSp>
        <p:nvGrpSpPr>
          <p:cNvPr id="8" name="Group 7">
            <a:extLst>
              <a:ext uri="{FF2B5EF4-FFF2-40B4-BE49-F238E27FC236}">
                <a16:creationId xmlns:a16="http://schemas.microsoft.com/office/drawing/2014/main" id="{53955D6B-1D3A-4CB0-8C4C-89CB77112CF4}"/>
              </a:ext>
            </a:extLst>
          </p:cNvPr>
          <p:cNvGrpSpPr/>
          <p:nvPr/>
        </p:nvGrpSpPr>
        <p:grpSpPr>
          <a:xfrm>
            <a:off x="1804867" y="4749980"/>
            <a:ext cx="611837" cy="215444"/>
            <a:chOff x="3711391" y="1307581"/>
            <a:chExt cx="611837" cy="215444"/>
          </a:xfrm>
        </p:grpSpPr>
        <p:sp>
          <p:nvSpPr>
            <p:cNvPr id="9" name="Oval 8">
              <a:extLst>
                <a:ext uri="{FF2B5EF4-FFF2-40B4-BE49-F238E27FC236}">
                  <a16:creationId xmlns:a16="http://schemas.microsoft.com/office/drawing/2014/main" id="{2718440A-4312-4712-96BE-A38357DE414B}"/>
                </a:ext>
              </a:extLst>
            </p:cNvPr>
            <p:cNvSpPr/>
            <p:nvPr/>
          </p:nvSpPr>
          <p:spPr>
            <a:xfrm>
              <a:off x="3711391" y="1378324"/>
              <a:ext cx="80682" cy="739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a:solidFill>
                  <a:schemeClr val="tx1"/>
                </a:solidFill>
              </a:endParaRPr>
            </a:p>
          </p:txBody>
        </p:sp>
        <p:sp>
          <p:nvSpPr>
            <p:cNvPr id="10" name="TextBox 9">
              <a:extLst>
                <a:ext uri="{FF2B5EF4-FFF2-40B4-BE49-F238E27FC236}">
                  <a16:creationId xmlns:a16="http://schemas.microsoft.com/office/drawing/2014/main" id="{B1254A78-A873-42E1-805F-0E9374B7790E}"/>
                </a:ext>
              </a:extLst>
            </p:cNvPr>
            <p:cNvSpPr txBox="1"/>
            <p:nvPr/>
          </p:nvSpPr>
          <p:spPr>
            <a:xfrm>
              <a:off x="3751729" y="1307581"/>
              <a:ext cx="571499" cy="215444"/>
            </a:xfrm>
            <a:prstGeom prst="rect">
              <a:avLst/>
            </a:prstGeom>
            <a:noFill/>
          </p:spPr>
          <p:txBody>
            <a:bodyPr wrap="square" rtlCol="0">
              <a:spAutoFit/>
            </a:bodyPr>
            <a:lstStyle/>
            <a:p>
              <a:r>
                <a:rPr lang="en-US" sz="800" b="1" dirty="0">
                  <a:solidFill>
                    <a:schemeClr val="tx1"/>
                  </a:solidFill>
                  <a:latin typeface="Abel" panose="020B0604020202020204" charset="0"/>
                </a:rPr>
                <a:t>Sao Paulo</a:t>
              </a:r>
              <a:endParaRPr lang="en-CA" sz="800" b="1" dirty="0">
                <a:solidFill>
                  <a:schemeClr val="tx1"/>
                </a:solidFill>
                <a:latin typeface="Abel" panose="020B0604020202020204" charset="0"/>
              </a:endParaRPr>
            </a:p>
          </p:txBody>
        </p:sp>
      </p:grpSp>
      <p:sp>
        <p:nvSpPr>
          <p:cNvPr id="15" name="TextBox 14">
            <a:extLst>
              <a:ext uri="{FF2B5EF4-FFF2-40B4-BE49-F238E27FC236}">
                <a16:creationId xmlns:a16="http://schemas.microsoft.com/office/drawing/2014/main" id="{7E508513-47C7-43D4-AE18-398C7D8675DB}"/>
              </a:ext>
            </a:extLst>
          </p:cNvPr>
          <p:cNvSpPr txBox="1"/>
          <p:nvPr/>
        </p:nvSpPr>
        <p:spPr>
          <a:xfrm>
            <a:off x="180814" y="738705"/>
            <a:ext cx="370729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Both cities : New Cases with temperature &amp; Humidity </a:t>
            </a:r>
          </a:p>
          <a:p>
            <a:r>
              <a:rPr lang="en-US" sz="1200" b="1" dirty="0">
                <a:solidFill>
                  <a:schemeClr val="bg1"/>
                </a:solidFill>
                <a:latin typeface="Abel" panose="020B0604020202020204" charset="0"/>
                <a:cs typeface="Arial" panose="020B0604020202020204" pitchFamily="34" charset="0"/>
              </a:rPr>
              <a:t>( 15 days average)</a:t>
            </a:r>
          </a:p>
        </p:txBody>
      </p:sp>
      <p:sp>
        <p:nvSpPr>
          <p:cNvPr id="18" name="TextBox 17">
            <a:extLst>
              <a:ext uri="{FF2B5EF4-FFF2-40B4-BE49-F238E27FC236}">
                <a16:creationId xmlns:a16="http://schemas.microsoft.com/office/drawing/2014/main" id="{304318B8-DD4C-4A64-B136-A61FCC50FF7C}"/>
              </a:ext>
            </a:extLst>
          </p:cNvPr>
          <p:cNvSpPr txBox="1"/>
          <p:nvPr/>
        </p:nvSpPr>
        <p:spPr>
          <a:xfrm>
            <a:off x="3787344" y="1648781"/>
            <a:ext cx="398881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New York only: </a:t>
            </a:r>
          </a:p>
          <a:p>
            <a:r>
              <a:rPr lang="en-US" sz="1200" b="1" dirty="0">
                <a:solidFill>
                  <a:schemeClr val="bg1"/>
                </a:solidFill>
                <a:latin typeface="Abel" panose="020B0604020202020204" charset="0"/>
                <a:cs typeface="Arial" panose="020B0604020202020204" pitchFamily="34" charset="0"/>
              </a:rPr>
              <a:t>New Cases with temperature &amp; Humidity ( 15 days average)</a:t>
            </a:r>
          </a:p>
        </p:txBody>
      </p:sp>
      <p:sp>
        <p:nvSpPr>
          <p:cNvPr id="20" name="TextBox 19">
            <a:extLst>
              <a:ext uri="{FF2B5EF4-FFF2-40B4-BE49-F238E27FC236}">
                <a16:creationId xmlns:a16="http://schemas.microsoft.com/office/drawing/2014/main" id="{BA12C0DE-D70C-4EDE-B8FE-44E2F3512B36}"/>
              </a:ext>
            </a:extLst>
          </p:cNvPr>
          <p:cNvSpPr txBox="1"/>
          <p:nvPr/>
        </p:nvSpPr>
        <p:spPr>
          <a:xfrm>
            <a:off x="3787344" y="2922876"/>
            <a:ext cx="398881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Sao Paulo only: </a:t>
            </a:r>
          </a:p>
          <a:p>
            <a:r>
              <a:rPr lang="en-US" sz="1200" b="1" dirty="0">
                <a:solidFill>
                  <a:schemeClr val="bg1"/>
                </a:solidFill>
                <a:latin typeface="Abel" panose="020B0604020202020204" charset="0"/>
                <a:cs typeface="Arial" panose="020B0604020202020204" pitchFamily="34" charset="0"/>
              </a:rPr>
              <a:t>New Cases with temperature &amp; Humidity ( 15 days average)</a:t>
            </a:r>
          </a:p>
        </p:txBody>
      </p:sp>
      <p:sp>
        <p:nvSpPr>
          <p:cNvPr id="24" name="TextBox 23">
            <a:extLst>
              <a:ext uri="{FF2B5EF4-FFF2-40B4-BE49-F238E27FC236}">
                <a16:creationId xmlns:a16="http://schemas.microsoft.com/office/drawing/2014/main" id="{46F25A32-960F-4852-AAC3-9212EFFC75EC}"/>
              </a:ext>
            </a:extLst>
          </p:cNvPr>
          <p:cNvSpPr txBox="1"/>
          <p:nvPr/>
        </p:nvSpPr>
        <p:spPr>
          <a:xfrm>
            <a:off x="3818212" y="4288352"/>
            <a:ext cx="5148045" cy="1015663"/>
          </a:xfrm>
          <a:prstGeom prst="rect">
            <a:avLst/>
          </a:prstGeom>
          <a:noFill/>
        </p:spPr>
        <p:txBody>
          <a:bodyPr wrap="square">
            <a:spAutoFit/>
          </a:bodyPr>
          <a:lstStyle/>
          <a:p>
            <a:pPr marL="171450" lvl="0" indent="-171450" algn="just" rtl="0">
              <a:spcBef>
                <a:spcPts val="0"/>
              </a:spcBef>
              <a:spcAft>
                <a:spcPts val="0"/>
              </a:spcAft>
              <a:buClr>
                <a:schemeClr val="bg1"/>
              </a:buClr>
              <a:buFont typeface="Arial" panose="020B0604020202020204" pitchFamily="34" charset="0"/>
              <a:buChar char="•"/>
            </a:pPr>
            <a:r>
              <a:rPr lang="en-US" sz="1200" b="1" dirty="0">
                <a:solidFill>
                  <a:schemeClr val="bg1"/>
                </a:solidFill>
                <a:latin typeface="Abel" panose="020B0604020202020204" charset="0"/>
                <a:cs typeface="Arial" panose="020B0604020202020204" pitchFamily="34" charset="0"/>
              </a:rPr>
              <a:t>Temperature: </a:t>
            </a:r>
            <a:r>
              <a:rPr lang="en-US" sz="1200" dirty="0">
                <a:solidFill>
                  <a:schemeClr val="bg1"/>
                </a:solidFill>
                <a:latin typeface="Abel" panose="020B0604020202020204" charset="0"/>
                <a:cs typeface="Arial" panose="020B0604020202020204" pitchFamily="34" charset="0"/>
              </a:rPr>
              <a:t>No. of cases in SP do not follow a trend, while NY does. This confirms that the data makes sense.</a:t>
            </a:r>
          </a:p>
          <a:p>
            <a:pPr marL="171450" indent="-171450" algn="just">
              <a:buClr>
                <a:schemeClr val="bg1"/>
              </a:buClr>
              <a:buFont typeface="Arial" panose="020B0604020202020204" pitchFamily="34" charset="0"/>
              <a:buChar char="•"/>
            </a:pPr>
            <a:r>
              <a:rPr lang="en-US" sz="1200" b="1" dirty="0">
                <a:solidFill>
                  <a:schemeClr val="bg1"/>
                </a:solidFill>
                <a:latin typeface="Abel" panose="020B0604020202020204" charset="0"/>
                <a:cs typeface="Arial" panose="020B0604020202020204" pitchFamily="34" charset="0"/>
              </a:rPr>
              <a:t>Humidity: </a:t>
            </a:r>
            <a:r>
              <a:rPr lang="en-US" sz="1200" dirty="0">
                <a:solidFill>
                  <a:schemeClr val="bg1"/>
                </a:solidFill>
                <a:latin typeface="Abel" panose="020B0604020202020204" charset="0"/>
                <a:cs typeface="Arial" panose="020B0604020202020204" pitchFamily="34" charset="0"/>
              </a:rPr>
              <a:t>There is no impact on the number of cases when humidity is considered for the analysis.  </a:t>
            </a:r>
          </a:p>
          <a:p>
            <a:pPr marL="0" lvl="0" indent="0" algn="just" rtl="0">
              <a:spcBef>
                <a:spcPts val="0"/>
              </a:spcBef>
              <a:spcAft>
                <a:spcPts val="0"/>
              </a:spcAft>
              <a:buNone/>
            </a:pPr>
            <a:endParaRPr lang="en-US" sz="1200" dirty="0">
              <a:solidFill>
                <a:schemeClr val="bg1"/>
              </a:solidFill>
              <a:latin typeface="Abel" panose="020B0604020202020204" charset="0"/>
              <a:cs typeface="Arial" panose="020B0604020202020204" pitchFamily="34" charset="0"/>
            </a:endParaRPr>
          </a:p>
        </p:txBody>
      </p:sp>
      <p:pic>
        <p:nvPicPr>
          <p:cNvPr id="29" name="Picture 28">
            <a:extLst>
              <a:ext uri="{FF2B5EF4-FFF2-40B4-BE49-F238E27FC236}">
                <a16:creationId xmlns:a16="http://schemas.microsoft.com/office/drawing/2014/main" id="{465447F1-345B-4705-9EBF-0EE34138E519}"/>
              </a:ext>
            </a:extLst>
          </p:cNvPr>
          <p:cNvPicPr>
            <a:picLocks noChangeAspect="1"/>
          </p:cNvPicPr>
          <p:nvPr/>
        </p:nvPicPr>
        <p:blipFill>
          <a:blip r:embed="rId4"/>
          <a:stretch>
            <a:fillRect/>
          </a:stretch>
        </p:blipFill>
        <p:spPr>
          <a:xfrm>
            <a:off x="3882637" y="1083926"/>
            <a:ext cx="5023860" cy="532508"/>
          </a:xfrm>
          <a:prstGeom prst="rect">
            <a:avLst/>
          </a:prstGeom>
        </p:spPr>
      </p:pic>
      <p:pic>
        <p:nvPicPr>
          <p:cNvPr id="31" name="Picture 30">
            <a:extLst>
              <a:ext uri="{FF2B5EF4-FFF2-40B4-BE49-F238E27FC236}">
                <a16:creationId xmlns:a16="http://schemas.microsoft.com/office/drawing/2014/main" id="{7636540E-5FFF-456E-B1B0-4D926FCDDF2E}"/>
              </a:ext>
            </a:extLst>
          </p:cNvPr>
          <p:cNvPicPr>
            <a:picLocks noChangeAspect="1"/>
          </p:cNvPicPr>
          <p:nvPr/>
        </p:nvPicPr>
        <p:blipFill>
          <a:blip r:embed="rId5"/>
          <a:stretch>
            <a:fillRect/>
          </a:stretch>
        </p:blipFill>
        <p:spPr>
          <a:xfrm>
            <a:off x="3882638" y="2178240"/>
            <a:ext cx="5023860" cy="540372"/>
          </a:xfrm>
          <a:prstGeom prst="rect">
            <a:avLst/>
          </a:prstGeom>
        </p:spPr>
      </p:pic>
      <p:pic>
        <p:nvPicPr>
          <p:cNvPr id="33" name="Picture 32">
            <a:extLst>
              <a:ext uri="{FF2B5EF4-FFF2-40B4-BE49-F238E27FC236}">
                <a16:creationId xmlns:a16="http://schemas.microsoft.com/office/drawing/2014/main" id="{2B7034D3-463A-4841-8206-7DA2911B180C}"/>
              </a:ext>
            </a:extLst>
          </p:cNvPr>
          <p:cNvPicPr>
            <a:picLocks noChangeAspect="1"/>
          </p:cNvPicPr>
          <p:nvPr/>
        </p:nvPicPr>
        <p:blipFill>
          <a:blip r:embed="rId6"/>
          <a:stretch>
            <a:fillRect/>
          </a:stretch>
        </p:blipFill>
        <p:spPr>
          <a:xfrm>
            <a:off x="3882637" y="3422408"/>
            <a:ext cx="5023860" cy="518972"/>
          </a:xfrm>
          <a:prstGeom prst="rect">
            <a:avLst/>
          </a:prstGeom>
        </p:spPr>
      </p:pic>
    </p:spTree>
    <p:extLst>
      <p:ext uri="{BB962C8B-B14F-4D97-AF65-F5344CB8AC3E}">
        <p14:creationId xmlns:p14="http://schemas.microsoft.com/office/powerpoint/2010/main" val="21844707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8895794" cy="665100"/>
          </a:xfrm>
        </p:spPr>
        <p:txBody>
          <a:bodyPr/>
          <a:lstStyle/>
          <a:p>
            <a:r>
              <a:rPr lang="en-CA" sz="3200" dirty="0"/>
              <a:t>Regression Models </a:t>
            </a:r>
            <a:r>
              <a:rPr lang="en-CA" sz="1800" dirty="0"/>
              <a:t>(Train on all 14.5 months data)</a:t>
            </a:r>
          </a:p>
        </p:txBody>
      </p:sp>
      <p:graphicFrame>
        <p:nvGraphicFramePr>
          <p:cNvPr id="2" name="Table 1">
            <a:extLst>
              <a:ext uri="{FF2B5EF4-FFF2-40B4-BE49-F238E27FC236}">
                <a16:creationId xmlns:a16="http://schemas.microsoft.com/office/drawing/2014/main" id="{8572DC79-FC41-44C4-90B8-E416AA765C65}"/>
              </a:ext>
            </a:extLst>
          </p:cNvPr>
          <p:cNvGraphicFramePr>
            <a:graphicFrameLocks noGrp="1"/>
          </p:cNvGraphicFramePr>
          <p:nvPr>
            <p:extLst>
              <p:ext uri="{D42A27DB-BD31-4B8C-83A1-F6EECF244321}">
                <p14:modId xmlns:p14="http://schemas.microsoft.com/office/powerpoint/2010/main" val="1081596250"/>
              </p:ext>
            </p:extLst>
          </p:nvPr>
        </p:nvGraphicFramePr>
        <p:xfrm>
          <a:off x="2585006" y="804060"/>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Both Cities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8.80905442368625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3177470498469601</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67294798 -0.02484348 -10.3903515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9.848717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15" name="Table 14">
            <a:extLst>
              <a:ext uri="{FF2B5EF4-FFF2-40B4-BE49-F238E27FC236}">
                <a16:creationId xmlns:a16="http://schemas.microsoft.com/office/drawing/2014/main" id="{26CECDCE-7160-4C35-B794-D85D483E2668}"/>
              </a:ext>
            </a:extLst>
          </p:cNvPr>
          <p:cNvGraphicFramePr>
            <a:graphicFrameLocks noGrp="1"/>
          </p:cNvGraphicFramePr>
          <p:nvPr>
            <p:extLst>
              <p:ext uri="{D42A27DB-BD31-4B8C-83A1-F6EECF244321}">
                <p14:modId xmlns:p14="http://schemas.microsoft.com/office/powerpoint/2010/main" val="534733497"/>
              </p:ext>
            </p:extLst>
          </p:nvPr>
        </p:nvGraphicFramePr>
        <p:xfrm>
          <a:off x="124835"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NY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6.13768873196065</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599501451768126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79141555  0.1454875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0.0862417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22" name="Table 21">
            <a:extLst>
              <a:ext uri="{FF2B5EF4-FFF2-40B4-BE49-F238E27FC236}">
                <a16:creationId xmlns:a16="http://schemas.microsoft.com/office/drawing/2014/main" id="{8FDE1F10-D0D8-40E9-9699-9382084C1332}"/>
              </a:ext>
            </a:extLst>
          </p:cNvPr>
          <p:cNvGraphicFramePr>
            <a:graphicFrameLocks noGrp="1"/>
          </p:cNvGraphicFramePr>
          <p:nvPr>
            <p:extLst>
              <p:ext uri="{D42A27DB-BD31-4B8C-83A1-F6EECF244321}">
                <p14:modId xmlns:p14="http://schemas.microsoft.com/office/powerpoint/2010/main" val="2962908365"/>
              </p:ext>
            </p:extLst>
          </p:nvPr>
        </p:nvGraphicFramePr>
        <p:xfrm>
          <a:off x="4656188"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s on Sao Paulo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62.7202804576192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051687680776730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40810781 -0.46844933]]</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39.0550793]</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sp>
        <p:nvSpPr>
          <p:cNvPr id="4" name="Flowchart: Connector 3">
            <a:extLst>
              <a:ext uri="{FF2B5EF4-FFF2-40B4-BE49-F238E27FC236}">
                <a16:creationId xmlns:a16="http://schemas.microsoft.com/office/drawing/2014/main" id="{B8ABC7E8-2341-46B1-91A5-98581C7003A6}"/>
              </a:ext>
            </a:extLst>
          </p:cNvPr>
          <p:cNvSpPr/>
          <p:nvPr/>
        </p:nvSpPr>
        <p:spPr>
          <a:xfrm>
            <a:off x="1835524" y="804060"/>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1</a:t>
            </a:r>
            <a:endParaRPr lang="en-CA" sz="1800" dirty="0">
              <a:latin typeface="Abel" panose="020B0604020202020204" charset="0"/>
            </a:endParaRPr>
          </a:p>
        </p:txBody>
      </p:sp>
      <p:sp>
        <p:nvSpPr>
          <p:cNvPr id="23" name="Flowchart: Connector 22">
            <a:extLst>
              <a:ext uri="{FF2B5EF4-FFF2-40B4-BE49-F238E27FC236}">
                <a16:creationId xmlns:a16="http://schemas.microsoft.com/office/drawing/2014/main" id="{92545833-9680-4819-9BBF-7719A529768F}"/>
              </a:ext>
            </a:extLst>
          </p:cNvPr>
          <p:cNvSpPr/>
          <p:nvPr/>
        </p:nvSpPr>
        <p:spPr>
          <a:xfrm>
            <a:off x="124835" y="2475650"/>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2</a:t>
            </a:r>
            <a:endParaRPr lang="en-CA" sz="1800" dirty="0">
              <a:latin typeface="Abel" panose="020B0604020202020204" charset="0"/>
            </a:endParaRPr>
          </a:p>
        </p:txBody>
      </p:sp>
      <p:sp>
        <p:nvSpPr>
          <p:cNvPr id="24" name="Flowchart: Connector 23">
            <a:extLst>
              <a:ext uri="{FF2B5EF4-FFF2-40B4-BE49-F238E27FC236}">
                <a16:creationId xmlns:a16="http://schemas.microsoft.com/office/drawing/2014/main" id="{2A3FDE6F-81CD-40A7-B696-12CB15CA7334}"/>
              </a:ext>
            </a:extLst>
          </p:cNvPr>
          <p:cNvSpPr/>
          <p:nvPr/>
        </p:nvSpPr>
        <p:spPr>
          <a:xfrm>
            <a:off x="8204276" y="2498593"/>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3</a:t>
            </a:r>
            <a:endParaRPr lang="en-CA" sz="1800" dirty="0">
              <a:latin typeface="Abel" panose="020B0604020202020204" charset="0"/>
            </a:endParaRPr>
          </a:p>
        </p:txBody>
      </p:sp>
      <p:pic>
        <p:nvPicPr>
          <p:cNvPr id="18" name="Graphic 17" descr="Close">
            <a:extLst>
              <a:ext uri="{FF2B5EF4-FFF2-40B4-BE49-F238E27FC236}">
                <a16:creationId xmlns:a16="http://schemas.microsoft.com/office/drawing/2014/main" id="{D3AE46D6-1BCC-40BC-8200-FD3A7243BD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97374" y="775265"/>
            <a:ext cx="436869" cy="436869"/>
          </a:xfrm>
          <a:prstGeom prst="rect">
            <a:avLst/>
          </a:prstGeom>
        </p:spPr>
      </p:pic>
      <p:pic>
        <p:nvPicPr>
          <p:cNvPr id="19" name="Graphic 18" descr="Close">
            <a:extLst>
              <a:ext uri="{FF2B5EF4-FFF2-40B4-BE49-F238E27FC236}">
                <a16:creationId xmlns:a16="http://schemas.microsoft.com/office/drawing/2014/main" id="{16C132B7-6F4B-4378-AD82-24E5881CFA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1352" y="2441005"/>
            <a:ext cx="436869" cy="436869"/>
          </a:xfrm>
          <a:prstGeom prst="rect">
            <a:avLst/>
          </a:prstGeom>
        </p:spPr>
      </p:pic>
      <p:pic>
        <p:nvPicPr>
          <p:cNvPr id="20" name="Graphic 19" descr="Close">
            <a:extLst>
              <a:ext uri="{FF2B5EF4-FFF2-40B4-BE49-F238E27FC236}">
                <a16:creationId xmlns:a16="http://schemas.microsoft.com/office/drawing/2014/main" id="{1945B19A-55BF-4D89-A208-93684BF767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67407" y="2498593"/>
            <a:ext cx="436869" cy="436869"/>
          </a:xfrm>
          <a:prstGeom prst="rect">
            <a:avLst/>
          </a:prstGeom>
        </p:spPr>
      </p:pic>
    </p:spTree>
    <p:extLst>
      <p:ext uri="{BB962C8B-B14F-4D97-AF65-F5344CB8AC3E}">
        <p14:creationId xmlns:p14="http://schemas.microsoft.com/office/powerpoint/2010/main" val="3097394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big data*analytics*analysis*cloud*AI*artificial intelligence*machine learn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Pandarus template">
  <a:themeElements>
    <a:clrScheme name="Custom 347">
      <a:dk1>
        <a:srgbClr val="001033"/>
      </a:dk1>
      <a:lt1>
        <a:srgbClr val="FFFFFF"/>
      </a:lt1>
      <a:dk2>
        <a:srgbClr val="5E636F"/>
      </a:dk2>
      <a:lt2>
        <a:srgbClr val="DEE3EB"/>
      </a:lt2>
      <a:accent1>
        <a:srgbClr val="05356E"/>
      </a:accent1>
      <a:accent2>
        <a:srgbClr val="0455A4"/>
      </a:accent2>
      <a:accent3>
        <a:srgbClr val="0679D6"/>
      </a:accent3>
      <a:accent4>
        <a:srgbClr val="098CF2"/>
      </a:accent4>
      <a:accent5>
        <a:srgbClr val="50C0ED"/>
      </a:accent5>
      <a:accent6>
        <a:srgbClr val="7BE4F7"/>
      </a:accent6>
      <a:hlink>
        <a:srgbClr val="FFFFFF"/>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400</TotalTime>
  <Words>2866</Words>
  <Application>Microsoft Office PowerPoint</Application>
  <PresentationFormat>On-screen Show (16:9)</PresentationFormat>
  <Paragraphs>324</Paragraphs>
  <Slides>18</Slides>
  <Notes>18</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8</vt:i4>
      </vt:variant>
    </vt:vector>
  </HeadingPairs>
  <TitlesOfParts>
    <vt:vector size="24" baseType="lpstr">
      <vt:lpstr>Encode Sans Semi Condensed Light</vt:lpstr>
      <vt:lpstr>Abel</vt:lpstr>
      <vt:lpstr>Arial</vt:lpstr>
      <vt:lpstr>Calibri</vt:lpstr>
      <vt:lpstr>Encode Sans Semi Condensed</vt:lpstr>
      <vt:lpstr>Pandarus template</vt:lpstr>
      <vt:lpstr>Impact of climate variables on Covid-19 cases  for New York and Sao Paulo (Does Covid19 spread faster in colder and drier weather ?) </vt:lpstr>
      <vt:lpstr>Overview</vt:lpstr>
      <vt:lpstr>PowerPoint Presentation</vt:lpstr>
      <vt:lpstr>Exploratory Data Analysis</vt:lpstr>
      <vt:lpstr>Data Analysis- Compare New Cases</vt:lpstr>
      <vt:lpstr>Data Analysis- Compare Weather</vt:lpstr>
      <vt:lpstr>Methodology</vt:lpstr>
      <vt:lpstr>Correlation Analysis- Combined Data</vt:lpstr>
      <vt:lpstr>Regression Models (Train on all 14.5 months data)</vt:lpstr>
      <vt:lpstr>Regression Models (Train on 13.5 months data , Test on 1 month data) </vt:lpstr>
      <vt:lpstr>Conclusion</vt:lpstr>
      <vt:lpstr>Recommendations to project expansion</vt:lpstr>
      <vt:lpstr>Team</vt:lpstr>
      <vt:lpstr>PowerPoint Presentation</vt:lpstr>
      <vt:lpstr>Appendix: Extra Resources</vt:lpstr>
      <vt:lpstr>References</vt:lpstr>
      <vt:lpstr>Heatmap of all Variables</vt:lpstr>
      <vt:lpstr>Regression Models (Train on all 14.5 months data) – Temperature onl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dc:title>
  <dc:creator>Archana Narula</dc:creator>
  <cp:lastModifiedBy>Syed, Aisha</cp:lastModifiedBy>
  <cp:revision>71</cp:revision>
  <dcterms:modified xsi:type="dcterms:W3CDTF">2021-06-06T14:35:10Z</dcterms:modified>
</cp:coreProperties>
</file>